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slideMasters/slideMaster1.xml" ContentType="application/vnd.openxmlformats-officedocument.presentationml.slideMaster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35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12.xml" ContentType="application/vnd.openxmlformats-officedocument.presentationml.tags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slideLayouts/slideLayout9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Override PartName="/ppt/slideLayouts/slideLayout7.xml" ContentType="application/vnd.openxmlformats-officedocument.presentationml.slideLayout+xml"/>
  <Default Extension="png" ContentType="image/png"/>
  <Override PartName="/ppt/theme/theme4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s/slide1.xml" ContentType="application/vnd.openxmlformats-officedocument.presentationml.slide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Default Extension="jpeg" ContentType="image/jpeg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5.xml" ContentType="application/vnd.openxmlformats-officedocument.presentationml.tags+xml"/>
  <Override PartName="/ppt/slideLayouts/slideLayout10.xml" ContentType="application/vnd.openxmlformats-officedocument.presentationml.slideLayout+xml"/>
  <Override PartName="/ppt/tags/tag13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84" r:id="rId1"/>
    <p:sldMasterId id="2147483687" r:id="rId2"/>
    <p:sldMasterId id="2147483756" r:id="rId3"/>
    <p:sldMasterId id="2147483846" r:id="rId4"/>
    <p:sldMasterId id="2147483898" r:id="rId5"/>
  </p:sldMasterIdLst>
  <p:notesMasterIdLst>
    <p:notesMasterId r:id="rId9"/>
  </p:notesMasterIdLst>
  <p:handoutMasterIdLst>
    <p:handoutMasterId r:id="rId10"/>
  </p:handoutMasterIdLst>
  <p:sldIdLst>
    <p:sldId id="2153" r:id="rId6"/>
    <p:sldId id="2171" r:id="rId7"/>
    <p:sldId id="2172" r:id="rId8"/>
  </p:sldIdLst>
  <p:sldSz cx="12192000" cy="6858000"/>
  <p:notesSz cx="6788150" cy="9923463"/>
  <p:defaultTextStyle>
    <a:defPPr>
      <a:defRPr lang="th-TH"/>
    </a:defPPr>
    <a:lvl1pPr algn="l" rtl="0" eaLnBrk="0" fontAlgn="base" hangingPunct="0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humthep Bunnak" initials="PB" lastIdx="1" clrIdx="0"/>
  <p:cmAuthor id="2" name="Windows User" initials="WU" lastIdx="3" clrIdx="1"/>
  <p:cmAuthor id="3" name="Chonlaglid Watchararattanapol" initials="CW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showAnimation="0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0"/>
      </p:ext>
    </p:extLst>
  </p:showPr>
  <p:clrMru>
    <a:srgbClr val="FFFFCC"/>
    <a:srgbClr val="FF0000"/>
    <a:srgbClr val="000000"/>
    <a:srgbClr val="99CCFF"/>
    <a:srgbClr val="A2A050"/>
    <a:srgbClr val="9A9A38"/>
    <a:srgbClr val="8D8B45"/>
    <a:srgbClr val="AEAC5A"/>
    <a:srgbClr val="808000"/>
    <a:srgbClr val="666633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25E5076-3810-47DD-B79F-674D7AD40C01}" styleName="深色样式 1 - 强调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2838BEF-8BB2-4498-84A7-C5851F593DF1}" styleName="中度样式 4 - 强调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6405" autoAdjust="0"/>
    <p:restoredTop sz="95455" autoAdjust="0"/>
  </p:normalViewPr>
  <p:slideViewPr>
    <p:cSldViewPr>
      <p:cViewPr>
        <p:scale>
          <a:sx n="77" d="100"/>
          <a:sy n="77" d="100"/>
        </p:scale>
        <p:origin x="-114" y="-762"/>
      </p:cViewPr>
      <p:guideLst>
        <p:guide orient="horz" pos="2114"/>
        <p:guide pos="3977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27636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9"/>
            <a:ext cx="2942271" cy="496729"/>
          </a:xfrm>
          <a:prstGeom prst="rect">
            <a:avLst/>
          </a:prstGeom>
        </p:spPr>
        <p:txBody>
          <a:bodyPr vert="horz" lIns="94767" tIns="47380" rIns="94767" bIns="47380" rtlCol="0"/>
          <a:lstStyle>
            <a:lvl1pPr algn="l" eaLnBrk="1" hangingPunct="1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th-TH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4298" y="9"/>
            <a:ext cx="2942271" cy="496729"/>
          </a:xfrm>
          <a:prstGeom prst="rect">
            <a:avLst/>
          </a:prstGeom>
        </p:spPr>
        <p:txBody>
          <a:bodyPr vert="horz" lIns="94767" tIns="47380" rIns="94767" bIns="47380" rtlCol="0"/>
          <a:lstStyle>
            <a:lvl1pPr algn="r" eaLnBrk="1" hangingPunct="1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47609B3-7AD0-4392-91FD-FB7FC8C01D32}" type="datetimeFigureOut">
              <a:rPr lang="th-TH"/>
              <a:pPr>
                <a:defRPr/>
              </a:pPr>
              <a:t>15/03/64</a:t>
            </a:fld>
            <a:endParaRPr lang="th-TH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5149"/>
            <a:ext cx="2942271" cy="496728"/>
          </a:xfrm>
          <a:prstGeom prst="rect">
            <a:avLst/>
          </a:prstGeom>
        </p:spPr>
        <p:txBody>
          <a:bodyPr vert="horz" lIns="94767" tIns="47380" rIns="94767" bIns="47380" rtlCol="0" anchor="b"/>
          <a:lstStyle>
            <a:lvl1pPr algn="l" eaLnBrk="1" hangingPunct="1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th-T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4298" y="9425149"/>
            <a:ext cx="2942271" cy="496728"/>
          </a:xfrm>
          <a:prstGeom prst="rect">
            <a:avLst/>
          </a:prstGeom>
        </p:spPr>
        <p:txBody>
          <a:bodyPr vert="horz" wrap="square" lIns="94767" tIns="47380" rIns="94767" bIns="47380" numCol="1" anchor="b" anchorCtr="0" compatLnSpc="1"/>
          <a:lstStyle>
            <a:lvl1pPr algn="r" eaLnBrk="1" hangingPunct="1">
              <a:defRPr sz="1200"/>
            </a:lvl1pPr>
          </a:lstStyle>
          <a:p>
            <a:pPr>
              <a:defRPr/>
            </a:pPr>
            <a:fld id="{1E02D23D-6B60-4A76-B19A-3C2671DF5073}" type="slidenum">
              <a:rPr lang="th-TH" altLang="th-TH"/>
              <a:pPr>
                <a:defRPr/>
              </a:pPr>
              <a:t>‹#›</a:t>
            </a:fld>
            <a:endParaRPr lang="th-TH" altLang="th-TH"/>
          </a:p>
        </p:txBody>
      </p:sp>
    </p:spTree>
    <p:extLst>
      <p:ext uri="{BB962C8B-B14F-4D97-AF65-F5344CB8AC3E}">
        <p14:creationId xmlns:p14="http://schemas.microsoft.com/office/powerpoint/2010/main" xmlns="" val="6269631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9"/>
            <a:ext cx="2942271" cy="496729"/>
          </a:xfrm>
          <a:prstGeom prst="rect">
            <a:avLst/>
          </a:prstGeom>
        </p:spPr>
        <p:txBody>
          <a:bodyPr vert="horz" lIns="94750" tIns="47371" rIns="94750" bIns="47371" rtlCol="0"/>
          <a:lstStyle>
            <a:lvl1pPr algn="l" eaLnBrk="1" hangingPunct="1"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4298" y="9"/>
            <a:ext cx="2942271" cy="496729"/>
          </a:xfrm>
          <a:prstGeom prst="rect">
            <a:avLst/>
          </a:prstGeom>
        </p:spPr>
        <p:txBody>
          <a:bodyPr vert="horz" lIns="94750" tIns="47371" rIns="94750" bIns="47371" rtlCol="0"/>
          <a:lstStyle>
            <a:lvl1pPr algn="r" eaLnBrk="1" hangingPunct="1"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6F89FEA-9404-4BE7-AF8F-46B1FEBA7FA3}" type="datetimeFigureOut">
              <a:rPr lang="en-US"/>
              <a:pPr>
                <a:defRPr/>
              </a:pPr>
              <a:t>3/15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2950"/>
            <a:ext cx="6610350" cy="37195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50" tIns="47371" rIns="94750" bIns="47371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8505" y="4713371"/>
            <a:ext cx="5431153" cy="4465796"/>
          </a:xfrm>
          <a:prstGeom prst="rect">
            <a:avLst/>
          </a:prstGeom>
        </p:spPr>
        <p:txBody>
          <a:bodyPr vert="horz" lIns="94750" tIns="47371" rIns="94750" bIns="47371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5149"/>
            <a:ext cx="2942271" cy="496728"/>
          </a:xfrm>
          <a:prstGeom prst="rect">
            <a:avLst/>
          </a:prstGeom>
        </p:spPr>
        <p:txBody>
          <a:bodyPr vert="horz" lIns="94750" tIns="47371" rIns="94750" bIns="47371" rtlCol="0" anchor="b"/>
          <a:lstStyle>
            <a:lvl1pPr algn="l" eaLnBrk="1" hangingPunct="1"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4298" y="9425149"/>
            <a:ext cx="2942271" cy="496728"/>
          </a:xfrm>
          <a:prstGeom prst="rect">
            <a:avLst/>
          </a:prstGeom>
        </p:spPr>
        <p:txBody>
          <a:bodyPr vert="horz" wrap="square" lIns="94750" tIns="47371" rIns="94750" bIns="47371" numCol="1" anchor="b" anchorCtr="0" compatLnSpc="1"/>
          <a:lstStyle>
            <a:lvl1pPr algn="r" eaLnBrk="1" hangingPunct="1">
              <a:defRPr sz="1100"/>
            </a:lvl1pPr>
          </a:lstStyle>
          <a:p>
            <a:pPr>
              <a:defRPr/>
            </a:pPr>
            <a:fld id="{972D51B1-82B3-4E54-8C10-45151BCC2696}" type="slidenum">
              <a:rPr lang="en-US" altLang="th-TH"/>
              <a:pPr>
                <a:defRPr/>
              </a:pPr>
              <a:t>‹#›</a:t>
            </a:fld>
            <a:endParaRPr lang="en-US" altLang="th-TH"/>
          </a:p>
        </p:txBody>
      </p:sp>
    </p:spTree>
    <p:extLst>
      <p:ext uri="{BB962C8B-B14F-4D97-AF65-F5344CB8AC3E}">
        <p14:creationId xmlns:p14="http://schemas.microsoft.com/office/powerpoint/2010/main" xmlns="" val="392597808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1472000" y="6485301"/>
            <a:ext cx="720001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 defTabSz="1218565" eaLnBrk="1" fontAlgn="auto" hangingPunct="1">
              <a:spcBef>
                <a:spcPts val="0"/>
              </a:spcBef>
              <a:spcAft>
                <a:spcPts val="0"/>
              </a:spcAft>
            </a:pPr>
            <a:endParaRPr lang="th-TH" sz="3700">
              <a:solidFill>
                <a:prstClr val="white"/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527949" y="6498000"/>
            <a:ext cx="576064" cy="360000"/>
          </a:xfrm>
          <a:prstGeom prst="rect">
            <a:avLst/>
          </a:prstGeom>
        </p:spPr>
        <p:txBody>
          <a:bodyPr lIns="121899" tIns="60949" rIns="121899" bIns="60949" anchor="ctr"/>
          <a:lstStyle>
            <a:lvl1pPr algn="ctr">
              <a:defRPr sz="2400" b="1">
                <a:solidFill>
                  <a:schemeClr val="tx1"/>
                </a:solidFill>
                <a:latin typeface="TH SarabunPSK" panose="020B0500040200020003" pitchFamily="34" charset="-34"/>
                <a:cs typeface="TH SarabunPSK" panose="020B0500040200020003" pitchFamily="34" charset="-34"/>
              </a:defRPr>
            </a:lvl1pPr>
          </a:lstStyle>
          <a:p>
            <a:pPr defTabSz="1218565" eaLnBrk="1" fontAlgn="auto" hangingPunct="1">
              <a:spcBef>
                <a:spcPts val="0"/>
              </a:spcBef>
              <a:spcAft>
                <a:spcPts val="0"/>
              </a:spcAft>
            </a:pPr>
            <a:fld id="{276AC52B-9AA2-45C0-B445-656CACC1B20F}" type="slidenum">
              <a:rPr lang="th-TH" smtClean="0">
                <a:solidFill>
                  <a:prstClr val="black"/>
                </a:solidFill>
              </a:rPr>
              <a:pPr defTabSz="1218565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th-TH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สไลด์ชื่อเรื่อ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th-TH"/>
              <a:t>คลิกเพื่อแก้ไขสไตล์ชื่อเรื่องต้นแบ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th-TH"/>
              <a:t>คลิกเพื่อแก้ไขสไตล์ชื่อเรื่องรองต้นแบบ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defRPr/>
            </a:pPr>
            <a:fld id="{5A50FA39-317D-4A2A-B5BD-1B44E128F05A}" type="datetime1">
              <a:rPr lang="th-TH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15/03/64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B3561BA9-CDCF-4958-B8AB-66F3BF063E13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ชื่อเรื่องและเนื้อห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th-TH"/>
              <a:t>คลิกเพื่อแก้ไขสไตล์ชื่อเรื่องต้นแบ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th-TH"/>
              <a:t>แก้ไขสไตล์ของข้อความต้นแบบ</a:t>
            </a:r>
          </a:p>
          <a:p>
            <a:pPr lvl="1"/>
            <a:r>
              <a:rPr lang="th-TH"/>
              <a:t>ระดับที่สอง</a:t>
            </a:r>
          </a:p>
          <a:p>
            <a:pPr lvl="2"/>
            <a:r>
              <a:rPr lang="th-TH"/>
              <a:t>ระดับที่สาม</a:t>
            </a:r>
          </a:p>
          <a:p>
            <a:pPr lvl="3"/>
            <a:r>
              <a:rPr lang="th-TH"/>
              <a:t>ระดับที่สี่</a:t>
            </a:r>
          </a:p>
          <a:p>
            <a:pPr lvl="4"/>
            <a:r>
              <a:rPr lang="th-TH"/>
              <a:t>ระดับที่ห้า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defRPr/>
            </a:pPr>
            <a:fld id="{FCD4CFC1-B0F7-413B-A628-602207E355F8}" type="datetime1">
              <a:rPr lang="th-TH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15/03/64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B3561BA9-CDCF-4958-B8AB-66F3BF063E13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ส่วนหัวของส่ว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th-TH"/>
              <a:t>คลิกเพื่อแก้ไขสไตล์ชื่อเรื่องต้นแบ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h-TH"/>
              <a:t>แก้ไขสไตล์ของข้อความต้นแบ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defRPr/>
            </a:pPr>
            <a:fld id="{DCA90D13-B6CE-4647-87F2-A0D6E773EB3B}" type="datetime1">
              <a:rPr lang="th-TH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15/03/64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B3561BA9-CDCF-4958-B8AB-66F3BF063E13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เนื้อหา 2 ส่ว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th-TH"/>
              <a:t>คลิกเพื่อแก้ไขสไตล์ชื่อเรื่องต้นแบ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th-TH"/>
              <a:t>แก้ไขสไตล์ของข้อความต้นแบบ</a:t>
            </a:r>
          </a:p>
          <a:p>
            <a:pPr lvl="1"/>
            <a:r>
              <a:rPr lang="th-TH"/>
              <a:t>ระดับที่สอง</a:t>
            </a:r>
          </a:p>
          <a:p>
            <a:pPr lvl="2"/>
            <a:r>
              <a:rPr lang="th-TH"/>
              <a:t>ระดับที่สาม</a:t>
            </a:r>
          </a:p>
          <a:p>
            <a:pPr lvl="3"/>
            <a:r>
              <a:rPr lang="th-TH"/>
              <a:t>ระดับที่สี่</a:t>
            </a:r>
          </a:p>
          <a:p>
            <a:pPr lvl="4"/>
            <a:r>
              <a:rPr lang="th-TH"/>
              <a:t>ระดับที่ห้า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th-TH"/>
              <a:t>แก้ไขสไตล์ของข้อความต้นแบบ</a:t>
            </a:r>
          </a:p>
          <a:p>
            <a:pPr lvl="1"/>
            <a:r>
              <a:rPr lang="th-TH"/>
              <a:t>ระดับที่สอง</a:t>
            </a:r>
          </a:p>
          <a:p>
            <a:pPr lvl="2"/>
            <a:r>
              <a:rPr lang="th-TH"/>
              <a:t>ระดับที่สาม</a:t>
            </a:r>
          </a:p>
          <a:p>
            <a:pPr lvl="3"/>
            <a:r>
              <a:rPr lang="th-TH"/>
              <a:t>ระดับที่สี่</a:t>
            </a:r>
          </a:p>
          <a:p>
            <a:pPr lvl="4"/>
            <a:r>
              <a:rPr lang="th-TH"/>
              <a:t>ระดับที่ห้า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defRPr/>
            </a:pPr>
            <a:fld id="{58F48450-2EAF-437D-A23C-E674450234B8}" type="datetime1">
              <a:rPr lang="th-TH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15/03/64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B3561BA9-CDCF-4958-B8AB-66F3BF063E13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การเปรียบเทียบ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th-TH"/>
              <a:t>คลิกเพื่อแก้ไขสไตล์ชื่อเรื่องต้นแบ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h-TH"/>
              <a:t>แก้ไขสไตล์ของข้อความต้นแบ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th-TH"/>
              <a:t>แก้ไขสไตล์ของข้อความต้นแบบ</a:t>
            </a:r>
          </a:p>
          <a:p>
            <a:pPr lvl="1"/>
            <a:r>
              <a:rPr lang="th-TH"/>
              <a:t>ระดับที่สอง</a:t>
            </a:r>
          </a:p>
          <a:p>
            <a:pPr lvl="2"/>
            <a:r>
              <a:rPr lang="th-TH"/>
              <a:t>ระดับที่สาม</a:t>
            </a:r>
          </a:p>
          <a:p>
            <a:pPr lvl="3"/>
            <a:r>
              <a:rPr lang="th-TH"/>
              <a:t>ระดับที่สี่</a:t>
            </a:r>
          </a:p>
          <a:p>
            <a:pPr lvl="4"/>
            <a:r>
              <a:rPr lang="th-TH"/>
              <a:t>ระดับที่ห้า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h-TH"/>
              <a:t>แก้ไขสไตล์ของข้อความต้นแบ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th-TH"/>
              <a:t>แก้ไขสไตล์ของข้อความต้นแบบ</a:t>
            </a:r>
          </a:p>
          <a:p>
            <a:pPr lvl="1"/>
            <a:r>
              <a:rPr lang="th-TH"/>
              <a:t>ระดับที่สอง</a:t>
            </a:r>
          </a:p>
          <a:p>
            <a:pPr lvl="2"/>
            <a:r>
              <a:rPr lang="th-TH"/>
              <a:t>ระดับที่สาม</a:t>
            </a:r>
          </a:p>
          <a:p>
            <a:pPr lvl="3"/>
            <a:r>
              <a:rPr lang="th-TH"/>
              <a:t>ระดับที่สี่</a:t>
            </a:r>
          </a:p>
          <a:p>
            <a:pPr lvl="4"/>
            <a:r>
              <a:rPr lang="th-TH"/>
              <a:t>ระดับที่ห้า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defRPr/>
            </a:pPr>
            <a:fld id="{FE661034-7C49-4D15-AF79-DC7619126F4E}" type="datetime1">
              <a:rPr lang="th-TH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15/03/64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B3561BA9-CDCF-4958-B8AB-66F3BF063E13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เฉพาะชื่อเรื่อ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th-TH"/>
              <a:t>คลิกเพื่อแก้ไขสไตล์ชื่อเรื่องต้นแบบ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defRPr/>
            </a:pPr>
            <a:fld id="{967CE8B3-4C66-4BD9-92CB-460C3D473560}" type="datetime1">
              <a:rPr lang="th-TH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15/03/64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B3561BA9-CDCF-4958-B8AB-66F3BF063E13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ว่างเปล่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defRPr/>
            </a:pPr>
            <a:fld id="{49285290-6C69-40BC-B7DE-298DF619D8B9}" type="datetime1">
              <a:rPr lang="th-TH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15/03/64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B3561BA9-CDCF-4958-B8AB-66F3BF063E13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เนื้อหาพร้อมคำอธิบายภาพ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th-TH"/>
              <a:t>คลิกเพื่อแก้ไขสไตล์ชื่อเรื่องต้นแบ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h-TH"/>
              <a:t>แก้ไขสไตล์ของข้อความต้นแบบ</a:t>
            </a:r>
          </a:p>
          <a:p>
            <a:pPr lvl="1"/>
            <a:r>
              <a:rPr lang="th-TH"/>
              <a:t>ระดับที่สอง</a:t>
            </a:r>
          </a:p>
          <a:p>
            <a:pPr lvl="2"/>
            <a:r>
              <a:rPr lang="th-TH"/>
              <a:t>ระดับที่สาม</a:t>
            </a:r>
          </a:p>
          <a:p>
            <a:pPr lvl="3"/>
            <a:r>
              <a:rPr lang="th-TH"/>
              <a:t>ระดับที่สี่</a:t>
            </a:r>
          </a:p>
          <a:p>
            <a:pPr lvl="4"/>
            <a:r>
              <a:rPr lang="th-TH"/>
              <a:t>ระดับที่ห้า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th-TH"/>
              <a:t>แก้ไขสไตล์ของข้อความต้นแบ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defRPr/>
            </a:pPr>
            <a:fld id="{003E14E7-B1E4-4EB0-954E-F5596B721010}" type="datetime1">
              <a:rPr lang="th-TH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15/03/64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B3561BA9-CDCF-4958-B8AB-66F3BF063E13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รูปภาพพร้อมคำอธิบายภาพ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th-TH"/>
              <a:t>คลิกเพื่อแก้ไขสไตล์ชื่อเรื่องต้นแบบ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 hasCustomPrompt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th-TH"/>
              <a:t>คลิกไอคอนเพื่อเพิ่มรูปภาพ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th-TH"/>
              <a:t>แก้ไขสไตล์ของข้อความต้นแบ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defRPr/>
            </a:pPr>
            <a:fld id="{7E7223E0-990E-47D2-9465-89EE88DB2B64}" type="datetime1">
              <a:rPr lang="th-TH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15/03/64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B3561BA9-CDCF-4958-B8AB-66F3BF063E13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ชื่อเรื่องและข้อความแนวตั้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th-TH"/>
              <a:t>คลิกเพื่อแก้ไขสไตล์ชื่อเรื่องต้นแบ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th-TH"/>
              <a:t>แก้ไขสไตล์ของข้อความต้นแบบ</a:t>
            </a:r>
          </a:p>
          <a:p>
            <a:pPr lvl="1"/>
            <a:r>
              <a:rPr lang="th-TH"/>
              <a:t>ระดับที่สอง</a:t>
            </a:r>
          </a:p>
          <a:p>
            <a:pPr lvl="2"/>
            <a:r>
              <a:rPr lang="th-TH"/>
              <a:t>ระดับที่สาม</a:t>
            </a:r>
          </a:p>
          <a:p>
            <a:pPr lvl="3"/>
            <a:r>
              <a:rPr lang="th-TH"/>
              <a:t>ระดับที่สี่</a:t>
            </a:r>
          </a:p>
          <a:p>
            <a:pPr lvl="4"/>
            <a:r>
              <a:rPr lang="th-TH"/>
              <a:t>ระดับที่ห้า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defRPr/>
            </a:pPr>
            <a:fld id="{E7EF16B5-566B-481D-B6A5-84B5CF63C2BB}" type="datetime1">
              <a:rPr lang="th-TH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15/03/64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B3561BA9-CDCF-4958-B8AB-66F3BF063E13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ข้อความและชื่อเรื่องแนวตั้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 hasCustomPrompt="1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th-TH"/>
              <a:t>คลิกเพื่อแก้ไขสไตล์ชื่อเรื่องต้นแบ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th-TH"/>
              <a:t>แก้ไขสไตล์ของข้อความต้นแบบ</a:t>
            </a:r>
          </a:p>
          <a:p>
            <a:pPr lvl="1"/>
            <a:r>
              <a:rPr lang="th-TH"/>
              <a:t>ระดับที่สอง</a:t>
            </a:r>
          </a:p>
          <a:p>
            <a:pPr lvl="2"/>
            <a:r>
              <a:rPr lang="th-TH"/>
              <a:t>ระดับที่สาม</a:t>
            </a:r>
          </a:p>
          <a:p>
            <a:pPr lvl="3"/>
            <a:r>
              <a:rPr lang="th-TH"/>
              <a:t>ระดับที่สี่</a:t>
            </a:r>
          </a:p>
          <a:p>
            <a:pPr lvl="4"/>
            <a:r>
              <a:rPr lang="th-TH"/>
              <a:t>ระดับที่ห้า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defRPr/>
            </a:pPr>
            <a:fld id="{CCB71A49-1E32-45AF-84CA-885F8D80FC9D}" type="datetime1">
              <a:rPr lang="th-TH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15/03/64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B3561BA9-CDCF-4958-B8AB-66F3BF063E13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 userDrawn="1"/>
        </p:nvGrpSpPr>
        <p:grpSpPr>
          <a:xfrm>
            <a:off x="3907974" y="1063755"/>
            <a:ext cx="4376057" cy="77068"/>
            <a:chOff x="4379494" y="697832"/>
            <a:chExt cx="2586787" cy="168442"/>
          </a:xfrm>
        </p:grpSpPr>
        <p:sp>
          <p:nvSpPr>
            <p:cNvPr id="6" name="Rectangle 5"/>
            <p:cNvSpPr/>
            <p:nvPr/>
          </p:nvSpPr>
          <p:spPr>
            <a:xfrm>
              <a:off x="4379494" y="697832"/>
              <a:ext cx="517358" cy="16844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705"/>
            </a:p>
          </p:txBody>
        </p:sp>
        <p:sp>
          <p:nvSpPr>
            <p:cNvPr id="7" name="Rectangle 6"/>
            <p:cNvSpPr/>
            <p:nvPr/>
          </p:nvSpPr>
          <p:spPr>
            <a:xfrm>
              <a:off x="4896851" y="697832"/>
              <a:ext cx="517358" cy="16844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705"/>
            </a:p>
          </p:txBody>
        </p:sp>
        <p:sp>
          <p:nvSpPr>
            <p:cNvPr id="8" name="Rectangle 7"/>
            <p:cNvSpPr/>
            <p:nvPr/>
          </p:nvSpPr>
          <p:spPr>
            <a:xfrm>
              <a:off x="5414208" y="697832"/>
              <a:ext cx="517358" cy="16844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705"/>
            </a:p>
          </p:txBody>
        </p:sp>
        <p:sp>
          <p:nvSpPr>
            <p:cNvPr id="9" name="Rectangle 8"/>
            <p:cNvSpPr/>
            <p:nvPr/>
          </p:nvSpPr>
          <p:spPr>
            <a:xfrm>
              <a:off x="5931565" y="697832"/>
              <a:ext cx="517358" cy="1684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705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6448923" y="697832"/>
              <a:ext cx="517358" cy="1684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705"/>
            </a:p>
          </p:txBody>
        </p:sp>
      </p:grpSp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30" y="339513"/>
            <a:ext cx="11573199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9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30" y="339513"/>
            <a:ext cx="11573199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9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0" y="6597857"/>
            <a:ext cx="12192000" cy="260147"/>
            <a:chOff x="4379494" y="697832"/>
            <a:chExt cx="2586787" cy="168442"/>
          </a:xfrm>
        </p:grpSpPr>
        <p:sp>
          <p:nvSpPr>
            <p:cNvPr id="6" name="Rectangle 5"/>
            <p:cNvSpPr/>
            <p:nvPr/>
          </p:nvSpPr>
          <p:spPr>
            <a:xfrm>
              <a:off x="4379494" y="697832"/>
              <a:ext cx="517358" cy="16844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705"/>
            </a:p>
          </p:txBody>
        </p:sp>
        <p:sp>
          <p:nvSpPr>
            <p:cNvPr id="7" name="Rectangle 6"/>
            <p:cNvSpPr/>
            <p:nvPr/>
          </p:nvSpPr>
          <p:spPr>
            <a:xfrm>
              <a:off x="4896852" y="697832"/>
              <a:ext cx="517358" cy="16844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705"/>
            </a:p>
          </p:txBody>
        </p:sp>
        <p:sp>
          <p:nvSpPr>
            <p:cNvPr id="8" name="Rectangle 7"/>
            <p:cNvSpPr/>
            <p:nvPr/>
          </p:nvSpPr>
          <p:spPr>
            <a:xfrm>
              <a:off x="5414209" y="697832"/>
              <a:ext cx="517358" cy="16844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705"/>
            </a:p>
          </p:txBody>
        </p:sp>
        <p:sp>
          <p:nvSpPr>
            <p:cNvPr id="9" name="Rectangle 8"/>
            <p:cNvSpPr/>
            <p:nvPr/>
          </p:nvSpPr>
          <p:spPr>
            <a:xfrm>
              <a:off x="5931566" y="697832"/>
              <a:ext cx="517358" cy="1684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705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6448923" y="697832"/>
              <a:ext cx="517358" cy="1684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705"/>
            </a:p>
          </p:txBody>
        </p:sp>
      </p:grpSp>
      <p:sp>
        <p:nvSpPr>
          <p:cNvPr id="3" name="Rectangle 2"/>
          <p:cNvSpPr/>
          <p:nvPr userDrawn="1"/>
        </p:nvSpPr>
        <p:spPr>
          <a:xfrm flipV="1">
            <a:off x="1" y="3726718"/>
            <a:ext cx="1762127" cy="4571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5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y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y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3" y="2858807"/>
            <a:ext cx="12191999" cy="2204134"/>
          </a:xfrm>
          <a:prstGeom prst="rect">
            <a:avLst/>
          </a:prstGeom>
          <a:gradFill flip="none" rotWithShape="1">
            <a:gsLst>
              <a:gs pos="74000">
                <a:schemeClr val="accent6">
                  <a:alpha val="70000"/>
                </a:schemeClr>
              </a:gs>
              <a:gs pos="45000">
                <a:schemeClr val="accent6">
                  <a:alpha val="75000"/>
                </a:schemeClr>
              </a:gs>
              <a:gs pos="8000">
                <a:schemeClr val="accent1">
                  <a:alpha val="0"/>
                </a:schemeClr>
              </a:gs>
              <a:gs pos="96000">
                <a:schemeClr val="accent5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705"/>
          </a:p>
        </p:txBody>
      </p:sp>
      <p:grpSp>
        <p:nvGrpSpPr>
          <p:cNvPr id="2" name="Graphic 14"/>
          <p:cNvGrpSpPr/>
          <p:nvPr userDrawn="1"/>
        </p:nvGrpSpPr>
        <p:grpSpPr>
          <a:xfrm>
            <a:off x="753449" y="2639308"/>
            <a:ext cx="4261727" cy="3351921"/>
            <a:chOff x="2444748" y="555045"/>
            <a:chExt cx="7282048" cy="5727454"/>
          </a:xfrm>
        </p:grpSpPr>
        <p:sp>
          <p:nvSpPr>
            <p:cNvPr id="3" name="Freeform: Shape 2"/>
            <p:cNvSpPr/>
            <p:nvPr/>
          </p:nvSpPr>
          <p:spPr>
            <a:xfrm>
              <a:off x="4964693" y="5443837"/>
              <a:ext cx="2168250" cy="818208"/>
            </a:xfrm>
            <a:custGeom>
              <a:avLst/>
              <a:gdLst>
                <a:gd name="connsiteX0" fmla="*/ 1941333 w 2168250"/>
                <a:gd name="connsiteY0" fmla="*/ 525699 h 818207"/>
                <a:gd name="connsiteX1" fmla="*/ 1785874 w 2168250"/>
                <a:gd name="connsiteY1" fmla="*/ 30683 h 818207"/>
                <a:gd name="connsiteX2" fmla="*/ 1114943 w 2168250"/>
                <a:gd name="connsiteY2" fmla="*/ 30683 h 818207"/>
                <a:gd name="connsiteX3" fmla="*/ 1065851 w 2168250"/>
                <a:gd name="connsiteY3" fmla="*/ 30683 h 818207"/>
                <a:gd name="connsiteX4" fmla="*/ 390830 w 2168250"/>
                <a:gd name="connsiteY4" fmla="*/ 30683 h 818207"/>
                <a:gd name="connsiteX5" fmla="*/ 235370 w 2168250"/>
                <a:gd name="connsiteY5" fmla="*/ 525699 h 818207"/>
                <a:gd name="connsiteX6" fmla="*/ 259916 w 2168250"/>
                <a:gd name="connsiteY6" fmla="*/ 816162 h 818207"/>
                <a:gd name="connsiteX7" fmla="*/ 1065851 w 2168250"/>
                <a:gd name="connsiteY7" fmla="*/ 816162 h 818207"/>
                <a:gd name="connsiteX8" fmla="*/ 1114943 w 2168250"/>
                <a:gd name="connsiteY8" fmla="*/ 816162 h 818207"/>
                <a:gd name="connsiteX9" fmla="*/ 1920878 w 2168250"/>
                <a:gd name="connsiteY9" fmla="*/ 816162 h 818207"/>
                <a:gd name="connsiteX10" fmla="*/ 1941333 w 2168250"/>
                <a:gd name="connsiteY10" fmla="*/ 525699 h 818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68250" h="818207">
                  <a:moveTo>
                    <a:pt x="1941333" y="525699"/>
                  </a:moveTo>
                  <a:cubicBezTo>
                    <a:pt x="1789965" y="370239"/>
                    <a:pt x="1785874" y="30683"/>
                    <a:pt x="1785874" y="30683"/>
                  </a:cubicBezTo>
                  <a:lnTo>
                    <a:pt x="1114943" y="30683"/>
                  </a:lnTo>
                  <a:lnTo>
                    <a:pt x="1065851" y="30683"/>
                  </a:lnTo>
                  <a:lnTo>
                    <a:pt x="390830" y="30683"/>
                  </a:lnTo>
                  <a:cubicBezTo>
                    <a:pt x="390830" y="30683"/>
                    <a:pt x="386739" y="366148"/>
                    <a:pt x="235370" y="525699"/>
                  </a:cubicBezTo>
                  <a:cubicBezTo>
                    <a:pt x="84002" y="681158"/>
                    <a:pt x="-149188" y="816162"/>
                    <a:pt x="259916" y="816162"/>
                  </a:cubicBezTo>
                  <a:cubicBezTo>
                    <a:pt x="587199" y="816162"/>
                    <a:pt x="939029" y="816162"/>
                    <a:pt x="1065851" y="816162"/>
                  </a:cubicBezTo>
                  <a:cubicBezTo>
                    <a:pt x="1098579" y="816162"/>
                    <a:pt x="1114943" y="816162"/>
                    <a:pt x="1114943" y="816162"/>
                  </a:cubicBezTo>
                  <a:cubicBezTo>
                    <a:pt x="1245857" y="816162"/>
                    <a:pt x="1597686" y="816162"/>
                    <a:pt x="1920878" y="816162"/>
                  </a:cubicBezTo>
                  <a:cubicBezTo>
                    <a:pt x="2329982" y="816162"/>
                    <a:pt x="2092702" y="681158"/>
                    <a:pt x="1941333" y="525699"/>
                  </a:cubicBezTo>
                  <a:close/>
                </a:path>
              </a:pathLst>
            </a:custGeom>
            <a:gradFill>
              <a:gsLst>
                <a:gs pos="0">
                  <a:schemeClr val="bg1">
                    <a:lumMod val="75000"/>
                  </a:schemeClr>
                </a:gs>
                <a:gs pos="53000">
                  <a:schemeClr val="bg1">
                    <a:lumMod val="85000"/>
                  </a:schemeClr>
                </a:gs>
                <a:gs pos="8300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62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05"/>
            </a:p>
          </p:txBody>
        </p:sp>
        <p:sp>
          <p:nvSpPr>
            <p:cNvPr id="4" name="Freeform: Shape 3"/>
            <p:cNvSpPr/>
            <p:nvPr/>
          </p:nvSpPr>
          <p:spPr>
            <a:xfrm>
              <a:off x="2444748" y="555045"/>
              <a:ext cx="7282048" cy="4950157"/>
            </a:xfrm>
            <a:custGeom>
              <a:avLst/>
              <a:gdLst>
                <a:gd name="connsiteX0" fmla="*/ 7038632 w 7282048"/>
                <a:gd name="connsiteY0" fmla="*/ 30683 h 4950157"/>
                <a:gd name="connsiteX1" fmla="*/ 3704436 w 7282048"/>
                <a:gd name="connsiteY1" fmla="*/ 30683 h 4950157"/>
                <a:gd name="connsiteX2" fmla="*/ 3589886 w 7282048"/>
                <a:gd name="connsiteY2" fmla="*/ 30683 h 4950157"/>
                <a:gd name="connsiteX3" fmla="*/ 259781 w 7282048"/>
                <a:gd name="connsiteY3" fmla="*/ 30683 h 4950157"/>
                <a:gd name="connsiteX4" fmla="*/ 30683 w 7282048"/>
                <a:gd name="connsiteY4" fmla="*/ 259781 h 4950157"/>
                <a:gd name="connsiteX5" fmla="*/ 30683 w 7282048"/>
                <a:gd name="connsiteY5" fmla="*/ 4698558 h 4950157"/>
                <a:gd name="connsiteX6" fmla="*/ 239326 w 7282048"/>
                <a:gd name="connsiteY6" fmla="*/ 4931748 h 4950157"/>
                <a:gd name="connsiteX7" fmla="*/ 7042723 w 7282048"/>
                <a:gd name="connsiteY7" fmla="*/ 4931748 h 4950157"/>
                <a:gd name="connsiteX8" fmla="*/ 7251366 w 7282048"/>
                <a:gd name="connsiteY8" fmla="*/ 4698558 h 4950157"/>
                <a:gd name="connsiteX9" fmla="*/ 7251366 w 7282048"/>
                <a:gd name="connsiteY9" fmla="*/ 259781 h 4950157"/>
                <a:gd name="connsiteX10" fmla="*/ 7038632 w 7282048"/>
                <a:gd name="connsiteY10" fmla="*/ 30683 h 4950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282048" h="4950157">
                  <a:moveTo>
                    <a:pt x="7038632" y="30683"/>
                  </a:moveTo>
                  <a:lnTo>
                    <a:pt x="3704436" y="30683"/>
                  </a:lnTo>
                  <a:lnTo>
                    <a:pt x="3589886" y="30683"/>
                  </a:lnTo>
                  <a:lnTo>
                    <a:pt x="259781" y="30683"/>
                  </a:lnTo>
                  <a:cubicBezTo>
                    <a:pt x="141141" y="30683"/>
                    <a:pt x="30683" y="128868"/>
                    <a:pt x="30683" y="259781"/>
                  </a:cubicBezTo>
                  <a:lnTo>
                    <a:pt x="30683" y="4698558"/>
                  </a:lnTo>
                  <a:cubicBezTo>
                    <a:pt x="30683" y="4829472"/>
                    <a:pt x="124777" y="4931748"/>
                    <a:pt x="239326" y="4931748"/>
                  </a:cubicBezTo>
                  <a:lnTo>
                    <a:pt x="7042723" y="4931748"/>
                  </a:lnTo>
                  <a:cubicBezTo>
                    <a:pt x="7157272" y="4931748"/>
                    <a:pt x="7251366" y="4825380"/>
                    <a:pt x="7251366" y="4698558"/>
                  </a:cubicBezTo>
                  <a:lnTo>
                    <a:pt x="7251366" y="259781"/>
                  </a:lnTo>
                  <a:cubicBezTo>
                    <a:pt x="7251366" y="128868"/>
                    <a:pt x="7157272" y="30683"/>
                    <a:pt x="7038632" y="30683"/>
                  </a:cubicBez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05" dirty="0"/>
            </a:p>
          </p:txBody>
        </p:sp>
        <p:sp>
          <p:nvSpPr>
            <p:cNvPr id="5" name="Freeform: Shape 4"/>
            <p:cNvSpPr/>
            <p:nvPr/>
          </p:nvSpPr>
          <p:spPr>
            <a:xfrm>
              <a:off x="8706599" y="5435655"/>
              <a:ext cx="490925" cy="81821"/>
            </a:xfrm>
            <a:custGeom>
              <a:avLst/>
              <a:gdLst>
                <a:gd name="connsiteX0" fmla="*/ 32212 w 490924"/>
                <a:gd name="connsiteY0" fmla="*/ 30683 h 81820"/>
                <a:gd name="connsiteX1" fmla="*/ 64939 w 490924"/>
                <a:gd name="connsiteY1" fmla="*/ 71593 h 81820"/>
                <a:gd name="connsiteX2" fmla="*/ 461771 w 490924"/>
                <a:gd name="connsiteY2" fmla="*/ 71593 h 81820"/>
                <a:gd name="connsiteX3" fmla="*/ 498590 w 490924"/>
                <a:gd name="connsiteY3" fmla="*/ 30683 h 81820"/>
                <a:gd name="connsiteX4" fmla="*/ 32212 w 490924"/>
                <a:gd name="connsiteY4" fmla="*/ 30683 h 81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924" h="81820">
                  <a:moveTo>
                    <a:pt x="32212" y="30683"/>
                  </a:moveTo>
                  <a:cubicBezTo>
                    <a:pt x="32212" y="30683"/>
                    <a:pt x="19938" y="67502"/>
                    <a:pt x="64939" y="71593"/>
                  </a:cubicBezTo>
                  <a:lnTo>
                    <a:pt x="461771" y="71593"/>
                  </a:lnTo>
                  <a:cubicBezTo>
                    <a:pt x="461771" y="71593"/>
                    <a:pt x="502681" y="75684"/>
                    <a:pt x="498590" y="30683"/>
                  </a:cubicBezTo>
                  <a:lnTo>
                    <a:pt x="32212" y="30683"/>
                  </a:ln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05"/>
            </a:p>
          </p:txBody>
        </p:sp>
        <p:sp>
          <p:nvSpPr>
            <p:cNvPr id="6" name="Freeform: Shape 5"/>
            <p:cNvSpPr/>
            <p:nvPr/>
          </p:nvSpPr>
          <p:spPr>
            <a:xfrm>
              <a:off x="2481568" y="595956"/>
              <a:ext cx="7200228" cy="4336501"/>
            </a:xfrm>
            <a:custGeom>
              <a:avLst/>
              <a:gdLst>
                <a:gd name="connsiteX0" fmla="*/ 6973175 w 7200227"/>
                <a:gd name="connsiteY0" fmla="*/ 30683 h 4336501"/>
                <a:gd name="connsiteX1" fmla="*/ 3671707 w 7200227"/>
                <a:gd name="connsiteY1" fmla="*/ 30683 h 4336501"/>
                <a:gd name="connsiteX2" fmla="*/ 3561249 w 7200227"/>
                <a:gd name="connsiteY2" fmla="*/ 30683 h 4336501"/>
                <a:gd name="connsiteX3" fmla="*/ 259781 w 7200227"/>
                <a:gd name="connsiteY3" fmla="*/ 30683 h 4336501"/>
                <a:gd name="connsiteX4" fmla="*/ 30683 w 7200227"/>
                <a:gd name="connsiteY4" fmla="*/ 231144 h 4336501"/>
                <a:gd name="connsiteX5" fmla="*/ 30683 w 7200227"/>
                <a:gd name="connsiteY5" fmla="*/ 4330365 h 4336501"/>
                <a:gd name="connsiteX6" fmla="*/ 7185909 w 7200227"/>
                <a:gd name="connsiteY6" fmla="*/ 4330365 h 4336501"/>
                <a:gd name="connsiteX7" fmla="*/ 7185909 w 7200227"/>
                <a:gd name="connsiteY7" fmla="*/ 231144 h 4336501"/>
                <a:gd name="connsiteX8" fmla="*/ 6973175 w 7200227"/>
                <a:gd name="connsiteY8" fmla="*/ 30683 h 4336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00227" h="4336501">
                  <a:moveTo>
                    <a:pt x="6973175" y="30683"/>
                  </a:moveTo>
                  <a:lnTo>
                    <a:pt x="3671707" y="30683"/>
                  </a:lnTo>
                  <a:lnTo>
                    <a:pt x="3561249" y="30683"/>
                  </a:lnTo>
                  <a:lnTo>
                    <a:pt x="259781" y="30683"/>
                  </a:lnTo>
                  <a:cubicBezTo>
                    <a:pt x="141141" y="30683"/>
                    <a:pt x="30683" y="112504"/>
                    <a:pt x="30683" y="231144"/>
                  </a:cubicBezTo>
                  <a:lnTo>
                    <a:pt x="30683" y="4330365"/>
                  </a:lnTo>
                  <a:lnTo>
                    <a:pt x="7185909" y="4330365"/>
                  </a:lnTo>
                  <a:lnTo>
                    <a:pt x="7185909" y="231144"/>
                  </a:lnTo>
                  <a:cubicBezTo>
                    <a:pt x="7185909" y="112504"/>
                    <a:pt x="7091815" y="30683"/>
                    <a:pt x="6973175" y="30683"/>
                  </a:cubicBezTo>
                  <a:close/>
                </a:path>
              </a:pathLst>
            </a:custGeom>
            <a:solidFill>
              <a:srgbClr val="231F2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05" dirty="0"/>
            </a:p>
          </p:txBody>
        </p:sp>
        <p:sp>
          <p:nvSpPr>
            <p:cNvPr id="7" name="Freeform: Shape 6"/>
            <p:cNvSpPr/>
            <p:nvPr/>
          </p:nvSpPr>
          <p:spPr>
            <a:xfrm>
              <a:off x="4968919" y="6159768"/>
              <a:ext cx="2168250" cy="122731"/>
            </a:xfrm>
            <a:custGeom>
              <a:avLst/>
              <a:gdLst>
                <a:gd name="connsiteX0" fmla="*/ 30683 w 2168250"/>
                <a:gd name="connsiteY0" fmla="*/ 34774 h 122731"/>
                <a:gd name="connsiteX1" fmla="*/ 30683 w 2168250"/>
                <a:gd name="connsiteY1" fmla="*/ 34774 h 122731"/>
                <a:gd name="connsiteX2" fmla="*/ 30683 w 2168250"/>
                <a:gd name="connsiteY2" fmla="*/ 38865 h 122731"/>
                <a:gd name="connsiteX3" fmla="*/ 30683 w 2168250"/>
                <a:gd name="connsiteY3" fmla="*/ 38865 h 122731"/>
                <a:gd name="connsiteX4" fmla="*/ 263872 w 2168250"/>
                <a:gd name="connsiteY4" fmla="*/ 96140 h 122731"/>
                <a:gd name="connsiteX5" fmla="*/ 1069807 w 2168250"/>
                <a:gd name="connsiteY5" fmla="*/ 96140 h 122731"/>
                <a:gd name="connsiteX6" fmla="*/ 1118899 w 2168250"/>
                <a:gd name="connsiteY6" fmla="*/ 96140 h 122731"/>
                <a:gd name="connsiteX7" fmla="*/ 1924834 w 2168250"/>
                <a:gd name="connsiteY7" fmla="*/ 96140 h 122731"/>
                <a:gd name="connsiteX8" fmla="*/ 2153932 w 2168250"/>
                <a:gd name="connsiteY8" fmla="*/ 30683 h 122731"/>
                <a:gd name="connsiteX9" fmla="*/ 2137568 w 2168250"/>
                <a:gd name="connsiteY9" fmla="*/ 30683 h 122731"/>
                <a:gd name="connsiteX10" fmla="*/ 2137568 w 2168250"/>
                <a:gd name="connsiteY10" fmla="*/ 30683 h 122731"/>
                <a:gd name="connsiteX11" fmla="*/ 30683 w 2168250"/>
                <a:gd name="connsiteY11" fmla="*/ 30683 h 122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68250" h="122731">
                  <a:moveTo>
                    <a:pt x="30683" y="34774"/>
                  </a:moveTo>
                  <a:lnTo>
                    <a:pt x="30683" y="34774"/>
                  </a:lnTo>
                  <a:cubicBezTo>
                    <a:pt x="30683" y="38865"/>
                    <a:pt x="30683" y="38865"/>
                    <a:pt x="30683" y="38865"/>
                  </a:cubicBezTo>
                  <a:lnTo>
                    <a:pt x="30683" y="38865"/>
                  </a:lnTo>
                  <a:cubicBezTo>
                    <a:pt x="30683" y="79775"/>
                    <a:pt x="96139" y="96140"/>
                    <a:pt x="263872" y="96140"/>
                  </a:cubicBezTo>
                  <a:cubicBezTo>
                    <a:pt x="591155" y="96140"/>
                    <a:pt x="942984" y="96140"/>
                    <a:pt x="1069807" y="96140"/>
                  </a:cubicBezTo>
                  <a:cubicBezTo>
                    <a:pt x="1102535" y="96140"/>
                    <a:pt x="1118899" y="96140"/>
                    <a:pt x="1118899" y="96140"/>
                  </a:cubicBezTo>
                  <a:cubicBezTo>
                    <a:pt x="1249812" y="96140"/>
                    <a:pt x="1601642" y="96140"/>
                    <a:pt x="1924834" y="96140"/>
                  </a:cubicBezTo>
                  <a:cubicBezTo>
                    <a:pt x="2092566" y="96140"/>
                    <a:pt x="2149841" y="75684"/>
                    <a:pt x="2153932" y="30683"/>
                  </a:cubicBezTo>
                  <a:lnTo>
                    <a:pt x="2137568" y="30683"/>
                  </a:lnTo>
                  <a:lnTo>
                    <a:pt x="2137568" y="30683"/>
                  </a:lnTo>
                  <a:lnTo>
                    <a:pt x="30683" y="30683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05" dirty="0"/>
            </a:p>
          </p:txBody>
        </p:sp>
        <p:sp>
          <p:nvSpPr>
            <p:cNvPr id="8" name="Freeform: Shape 7"/>
            <p:cNvSpPr/>
            <p:nvPr/>
          </p:nvSpPr>
          <p:spPr>
            <a:xfrm>
              <a:off x="2481568" y="4903820"/>
              <a:ext cx="7200228" cy="572745"/>
            </a:xfrm>
            <a:custGeom>
              <a:avLst/>
              <a:gdLst>
                <a:gd name="connsiteX0" fmla="*/ 30683 w 7200227"/>
                <a:gd name="connsiteY0" fmla="*/ 362057 h 572745"/>
                <a:gd name="connsiteX1" fmla="*/ 259781 w 7200227"/>
                <a:gd name="connsiteY1" fmla="*/ 562518 h 572745"/>
                <a:gd name="connsiteX2" fmla="*/ 3561249 w 7200227"/>
                <a:gd name="connsiteY2" fmla="*/ 562518 h 572745"/>
                <a:gd name="connsiteX3" fmla="*/ 3671707 w 7200227"/>
                <a:gd name="connsiteY3" fmla="*/ 562518 h 572745"/>
                <a:gd name="connsiteX4" fmla="*/ 6973175 w 7200227"/>
                <a:gd name="connsiteY4" fmla="*/ 562518 h 572745"/>
                <a:gd name="connsiteX5" fmla="*/ 7185909 w 7200227"/>
                <a:gd name="connsiteY5" fmla="*/ 362057 h 572745"/>
                <a:gd name="connsiteX6" fmla="*/ 7185909 w 7200227"/>
                <a:gd name="connsiteY6" fmla="*/ 30683 h 572745"/>
                <a:gd name="connsiteX7" fmla="*/ 30683 w 7200227"/>
                <a:gd name="connsiteY7" fmla="*/ 30683 h 572745"/>
                <a:gd name="connsiteX8" fmla="*/ 30683 w 7200227"/>
                <a:gd name="connsiteY8" fmla="*/ 362057 h 572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00227" h="572745">
                  <a:moveTo>
                    <a:pt x="30683" y="362057"/>
                  </a:moveTo>
                  <a:cubicBezTo>
                    <a:pt x="30683" y="464333"/>
                    <a:pt x="141141" y="562518"/>
                    <a:pt x="259781" y="562518"/>
                  </a:cubicBezTo>
                  <a:lnTo>
                    <a:pt x="3561249" y="562518"/>
                  </a:lnTo>
                  <a:lnTo>
                    <a:pt x="3671707" y="562518"/>
                  </a:lnTo>
                  <a:lnTo>
                    <a:pt x="6973175" y="562518"/>
                  </a:lnTo>
                  <a:cubicBezTo>
                    <a:pt x="7091815" y="562518"/>
                    <a:pt x="7185909" y="464333"/>
                    <a:pt x="7185909" y="362057"/>
                  </a:cubicBezTo>
                  <a:lnTo>
                    <a:pt x="7185909" y="30683"/>
                  </a:lnTo>
                  <a:lnTo>
                    <a:pt x="30683" y="30683"/>
                  </a:lnTo>
                  <a:lnTo>
                    <a:pt x="30683" y="36205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05"/>
            </a:p>
          </p:txBody>
        </p:sp>
        <p:sp>
          <p:nvSpPr>
            <p:cNvPr id="9" name="Freeform: Shape 8"/>
            <p:cNvSpPr/>
            <p:nvPr/>
          </p:nvSpPr>
          <p:spPr>
            <a:xfrm>
              <a:off x="2747714" y="910966"/>
              <a:ext cx="6676116" cy="3763756"/>
            </a:xfrm>
            <a:custGeom>
              <a:avLst/>
              <a:gdLst>
                <a:gd name="connsiteX0" fmla="*/ 30683 w 6586571"/>
                <a:gd name="connsiteY0" fmla="*/ 30683 h 3763755"/>
                <a:gd name="connsiteX1" fmla="*/ 6564071 w 6586571"/>
                <a:gd name="connsiteY1" fmla="*/ 30683 h 3763755"/>
                <a:gd name="connsiteX2" fmla="*/ 6564071 w 6586571"/>
                <a:gd name="connsiteY2" fmla="*/ 3753528 h 3763755"/>
                <a:gd name="connsiteX3" fmla="*/ 30683 w 6586571"/>
                <a:gd name="connsiteY3" fmla="*/ 3753528 h 3763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86571" h="3763755">
                  <a:moveTo>
                    <a:pt x="30683" y="30683"/>
                  </a:moveTo>
                  <a:lnTo>
                    <a:pt x="6564071" y="30683"/>
                  </a:lnTo>
                  <a:lnTo>
                    <a:pt x="6564071" y="3753528"/>
                  </a:lnTo>
                  <a:lnTo>
                    <a:pt x="30683" y="3753528"/>
                  </a:lnTo>
                  <a:close/>
                </a:path>
              </a:pathLst>
            </a:custGeom>
            <a:solidFill>
              <a:srgbClr val="F2F2F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05"/>
            </a:p>
          </p:txBody>
        </p:sp>
        <p:sp>
          <p:nvSpPr>
            <p:cNvPr id="10" name="Freeform: Shape 9"/>
            <p:cNvSpPr/>
            <p:nvPr/>
          </p:nvSpPr>
          <p:spPr>
            <a:xfrm>
              <a:off x="5654591" y="939518"/>
              <a:ext cx="3769239" cy="3736342"/>
            </a:xfrm>
            <a:custGeom>
              <a:avLst/>
              <a:gdLst>
                <a:gd name="connsiteX0" fmla="*/ 2567127 w 4009217"/>
                <a:gd name="connsiteY0" fmla="*/ 30683 h 4295590"/>
                <a:gd name="connsiteX1" fmla="*/ 3798529 w 4009217"/>
                <a:gd name="connsiteY1" fmla="*/ 30683 h 4295590"/>
                <a:gd name="connsiteX2" fmla="*/ 4007172 w 4009217"/>
                <a:gd name="connsiteY2" fmla="*/ 272054 h 4295590"/>
                <a:gd name="connsiteX3" fmla="*/ 3998990 w 4009217"/>
                <a:gd name="connsiteY3" fmla="*/ 4268999 h 4295590"/>
                <a:gd name="connsiteX4" fmla="*/ 30683 w 4009217"/>
                <a:gd name="connsiteY4" fmla="*/ 4268999 h 4295590"/>
                <a:gd name="connsiteX0-1" fmla="*/ 2536444 w 3976489"/>
                <a:gd name="connsiteY0-2" fmla="*/ 0 h 4238316"/>
                <a:gd name="connsiteX1-3" fmla="*/ 3976489 w 3976489"/>
                <a:gd name="connsiteY1-4" fmla="*/ 241371 h 4238316"/>
                <a:gd name="connsiteX2-5" fmla="*/ 3968307 w 3976489"/>
                <a:gd name="connsiteY2-6" fmla="*/ 4238316 h 4238316"/>
                <a:gd name="connsiteX3-7" fmla="*/ 0 w 3976489"/>
                <a:gd name="connsiteY3-8" fmla="*/ 4238316 h 4238316"/>
                <a:gd name="connsiteX0-9" fmla="*/ 2536444 w 3976489"/>
                <a:gd name="connsiteY0-10" fmla="*/ 0 h 4238316"/>
                <a:gd name="connsiteX1-11" fmla="*/ 3976489 w 3976489"/>
                <a:gd name="connsiteY1-12" fmla="*/ 213683 h 4238316"/>
                <a:gd name="connsiteX2-13" fmla="*/ 3968307 w 3976489"/>
                <a:gd name="connsiteY2-14" fmla="*/ 4238316 h 4238316"/>
                <a:gd name="connsiteX3-15" fmla="*/ 0 w 3976489"/>
                <a:gd name="connsiteY3-16" fmla="*/ 4238316 h 4238316"/>
                <a:gd name="connsiteX0-17" fmla="*/ 2473335 w 3976489"/>
                <a:gd name="connsiteY0-18" fmla="*/ 0 h 4035268"/>
                <a:gd name="connsiteX1-19" fmla="*/ 3976489 w 3976489"/>
                <a:gd name="connsiteY1-20" fmla="*/ 10635 h 4035268"/>
                <a:gd name="connsiteX2-21" fmla="*/ 3968307 w 3976489"/>
                <a:gd name="connsiteY2-22" fmla="*/ 4035268 h 4035268"/>
                <a:gd name="connsiteX3-23" fmla="*/ 0 w 3976489"/>
                <a:gd name="connsiteY3-24" fmla="*/ 4035268 h 403526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3976489" h="4035268">
                  <a:moveTo>
                    <a:pt x="2473335" y="0"/>
                  </a:moveTo>
                  <a:lnTo>
                    <a:pt x="3976489" y="10635"/>
                  </a:lnTo>
                  <a:cubicBezTo>
                    <a:pt x="3973762" y="1342950"/>
                    <a:pt x="3971034" y="2702953"/>
                    <a:pt x="3968307" y="4035268"/>
                  </a:cubicBezTo>
                  <a:lnTo>
                    <a:pt x="0" y="4035268"/>
                  </a:lnTo>
                </a:path>
              </a:pathLst>
            </a:custGeom>
            <a:solidFill>
              <a:srgbClr val="999999">
                <a:alpha val="1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05" dirty="0"/>
            </a:p>
          </p:txBody>
        </p:sp>
      </p:grpSp>
      <p:sp>
        <p:nvSpPr>
          <p:cNvPr id="11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930753" y="2858807"/>
            <a:ext cx="3907113" cy="218664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1095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anose="020B0604020202020204" pitchFamily="34" charset="0"/>
              </a:defRPr>
            </a:lvl1pPr>
            <a:lvl2pPr marL="278765" indent="0">
              <a:buNone/>
              <a:defRPr sz="1705"/>
            </a:lvl2pPr>
            <a:lvl3pPr marL="557530" indent="0">
              <a:buNone/>
              <a:defRPr sz="1465"/>
            </a:lvl3pPr>
            <a:lvl4pPr marL="835660" indent="0">
              <a:buNone/>
              <a:defRPr sz="1220"/>
            </a:lvl4pPr>
            <a:lvl5pPr marL="1114425" indent="0">
              <a:buNone/>
              <a:defRPr sz="1220"/>
            </a:lvl5pPr>
            <a:lvl6pPr marL="1393190" indent="0">
              <a:buNone/>
              <a:defRPr sz="1220"/>
            </a:lvl6pPr>
            <a:lvl7pPr marL="1671955" indent="0">
              <a:buNone/>
              <a:defRPr sz="1220"/>
            </a:lvl7pPr>
            <a:lvl8pPr marL="1950085" indent="0">
              <a:buNone/>
              <a:defRPr sz="1220"/>
            </a:lvl8pPr>
            <a:lvl9pPr marL="2228850" indent="0">
              <a:buNone/>
              <a:defRPr sz="122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y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/>
          <p:cNvSpPr/>
          <p:nvPr userDrawn="1"/>
        </p:nvSpPr>
        <p:spPr>
          <a:xfrm>
            <a:off x="292771" y="312821"/>
            <a:ext cx="7503695" cy="6304547"/>
          </a:xfrm>
          <a:custGeom>
            <a:avLst/>
            <a:gdLst>
              <a:gd name="connsiteX0" fmla="*/ 0 w 8066763"/>
              <a:gd name="connsiteY0" fmla="*/ 0 h 6304547"/>
              <a:gd name="connsiteX1" fmla="*/ 8066763 w 8066763"/>
              <a:gd name="connsiteY1" fmla="*/ 0 h 6304547"/>
              <a:gd name="connsiteX2" fmla="*/ 5597407 w 8066763"/>
              <a:gd name="connsiteY2" fmla="*/ 6304547 h 6304547"/>
              <a:gd name="connsiteX3" fmla="*/ 0 w 8066763"/>
              <a:gd name="connsiteY3" fmla="*/ 6304547 h 63045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066763" h="6304547">
                <a:moveTo>
                  <a:pt x="0" y="0"/>
                </a:moveTo>
                <a:lnTo>
                  <a:pt x="8066763" y="0"/>
                </a:lnTo>
                <a:lnTo>
                  <a:pt x="5597407" y="6304547"/>
                </a:lnTo>
                <a:lnTo>
                  <a:pt x="0" y="6304547"/>
                </a:lnTo>
                <a:close/>
              </a:path>
            </a:pathLst>
          </a:cu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721" tIns="27861" rIns="55721" bIns="27861" numCol="1" spcCol="0" rtlCol="0" fromWordArt="0" anchor="ctr" anchorCtr="0" forceAA="0" compatLnSpc="1">
            <a:noAutofit/>
          </a:bodyPr>
          <a:lstStyle/>
          <a:p>
            <a:pPr algn="ctr"/>
            <a:endParaRPr lang="ko-KR" altLang="en-US" sz="1705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955452"/>
            <a:ext cx="12192000" cy="2348880"/>
          </a:xfrm>
          <a:prstGeom prst="rect">
            <a:avLst/>
          </a:prstGeom>
          <a:gradFill>
            <a:gsLst>
              <a:gs pos="66000">
                <a:schemeClr val="accent3"/>
              </a:gs>
              <a:gs pos="33000">
                <a:schemeClr val="accent2"/>
              </a:gs>
              <a:gs pos="0">
                <a:schemeClr val="accent1"/>
              </a:gs>
              <a:gs pos="96000">
                <a:schemeClr val="accent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95">
              <a:latin typeface="+mn-lt"/>
              <a:cs typeface="Arial" panose="020B0604020202020204" pitchFamily="34" charset="0"/>
            </a:endParaRPr>
          </a:p>
        </p:txBody>
      </p:sp>
      <p:sp>
        <p:nvSpPr>
          <p:cNvPr id="7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915027" y="2193892"/>
            <a:ext cx="1872000" cy="187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73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anose="020B0604020202020204" pitchFamily="34" charset="0"/>
              </a:defRPr>
            </a:lvl1pPr>
            <a:lvl2pPr marL="278765" indent="0">
              <a:buNone/>
              <a:defRPr sz="1705"/>
            </a:lvl2pPr>
            <a:lvl3pPr marL="557530" indent="0">
              <a:buNone/>
              <a:defRPr sz="1465"/>
            </a:lvl3pPr>
            <a:lvl4pPr marL="835660" indent="0">
              <a:buNone/>
              <a:defRPr sz="1220"/>
            </a:lvl4pPr>
            <a:lvl5pPr marL="1114425" indent="0">
              <a:buNone/>
              <a:defRPr sz="1220"/>
            </a:lvl5pPr>
            <a:lvl6pPr marL="1393190" indent="0">
              <a:buNone/>
              <a:defRPr sz="1220"/>
            </a:lvl6pPr>
            <a:lvl7pPr marL="1671955" indent="0">
              <a:buNone/>
              <a:defRPr sz="1220"/>
            </a:lvl7pPr>
            <a:lvl8pPr marL="1950085" indent="0">
              <a:buNone/>
              <a:defRPr sz="1220"/>
            </a:lvl8pPr>
            <a:lvl9pPr marL="2228850" indent="0">
              <a:buNone/>
              <a:defRPr sz="122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3795615" y="2193892"/>
            <a:ext cx="1872000" cy="187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73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anose="020B0604020202020204" pitchFamily="34" charset="0"/>
              </a:defRPr>
            </a:lvl1pPr>
            <a:lvl2pPr marL="278765" indent="0">
              <a:buNone/>
              <a:defRPr sz="1705"/>
            </a:lvl2pPr>
            <a:lvl3pPr marL="557530" indent="0">
              <a:buNone/>
              <a:defRPr sz="1465"/>
            </a:lvl3pPr>
            <a:lvl4pPr marL="835660" indent="0">
              <a:buNone/>
              <a:defRPr sz="1220"/>
            </a:lvl4pPr>
            <a:lvl5pPr marL="1114425" indent="0">
              <a:buNone/>
              <a:defRPr sz="1220"/>
            </a:lvl5pPr>
            <a:lvl6pPr marL="1393190" indent="0">
              <a:buNone/>
              <a:defRPr sz="1220"/>
            </a:lvl6pPr>
            <a:lvl7pPr marL="1671955" indent="0">
              <a:buNone/>
              <a:defRPr sz="1220"/>
            </a:lvl7pPr>
            <a:lvl8pPr marL="1950085" indent="0">
              <a:buNone/>
              <a:defRPr sz="1220"/>
            </a:lvl8pPr>
            <a:lvl9pPr marL="2228850" indent="0">
              <a:buNone/>
              <a:defRPr sz="122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6676201" y="2193892"/>
            <a:ext cx="1872000" cy="187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73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anose="020B0604020202020204" pitchFamily="34" charset="0"/>
              </a:defRPr>
            </a:lvl1pPr>
            <a:lvl2pPr marL="278765" indent="0">
              <a:buNone/>
              <a:defRPr sz="1705"/>
            </a:lvl2pPr>
            <a:lvl3pPr marL="557530" indent="0">
              <a:buNone/>
              <a:defRPr sz="1465"/>
            </a:lvl3pPr>
            <a:lvl4pPr marL="835660" indent="0">
              <a:buNone/>
              <a:defRPr sz="1220"/>
            </a:lvl4pPr>
            <a:lvl5pPr marL="1114425" indent="0">
              <a:buNone/>
              <a:defRPr sz="1220"/>
            </a:lvl5pPr>
            <a:lvl6pPr marL="1393190" indent="0">
              <a:buNone/>
              <a:defRPr sz="1220"/>
            </a:lvl6pPr>
            <a:lvl7pPr marL="1671955" indent="0">
              <a:buNone/>
              <a:defRPr sz="1220"/>
            </a:lvl7pPr>
            <a:lvl8pPr marL="1950085" indent="0">
              <a:buNone/>
              <a:defRPr sz="1220"/>
            </a:lvl8pPr>
            <a:lvl9pPr marL="2228850" indent="0">
              <a:buNone/>
              <a:defRPr sz="122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9452281" y="2193892"/>
            <a:ext cx="1872000" cy="187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73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anose="020B0604020202020204" pitchFamily="34" charset="0"/>
              </a:defRPr>
            </a:lvl1pPr>
            <a:lvl2pPr marL="278765" indent="0">
              <a:buNone/>
              <a:defRPr sz="1705"/>
            </a:lvl2pPr>
            <a:lvl3pPr marL="557530" indent="0">
              <a:buNone/>
              <a:defRPr sz="1465"/>
            </a:lvl3pPr>
            <a:lvl4pPr marL="835660" indent="0">
              <a:buNone/>
              <a:defRPr sz="1220"/>
            </a:lvl4pPr>
            <a:lvl5pPr marL="1114425" indent="0">
              <a:buNone/>
              <a:defRPr sz="1220"/>
            </a:lvl5pPr>
            <a:lvl6pPr marL="1393190" indent="0">
              <a:buNone/>
              <a:defRPr sz="1220"/>
            </a:lvl6pPr>
            <a:lvl7pPr marL="1671955" indent="0">
              <a:buNone/>
              <a:defRPr sz="1220"/>
            </a:lvl7pPr>
            <a:lvl8pPr marL="1950085" indent="0">
              <a:buNone/>
              <a:defRPr sz="1220"/>
            </a:lvl8pPr>
            <a:lvl9pPr marL="2228850" indent="0">
              <a:buNone/>
              <a:defRPr sz="122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323530" y="339513"/>
            <a:ext cx="11573199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9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0" y="6597857"/>
            <a:ext cx="12192000" cy="260147"/>
            <a:chOff x="4379494" y="697832"/>
            <a:chExt cx="2586787" cy="168442"/>
          </a:xfrm>
        </p:grpSpPr>
        <p:sp>
          <p:nvSpPr>
            <p:cNvPr id="21" name="Rectangle 20"/>
            <p:cNvSpPr/>
            <p:nvPr/>
          </p:nvSpPr>
          <p:spPr>
            <a:xfrm>
              <a:off x="4379494" y="697832"/>
              <a:ext cx="517358" cy="16844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705"/>
            </a:p>
          </p:txBody>
        </p:sp>
        <p:sp>
          <p:nvSpPr>
            <p:cNvPr id="22" name="Rectangle 21"/>
            <p:cNvSpPr/>
            <p:nvPr/>
          </p:nvSpPr>
          <p:spPr>
            <a:xfrm>
              <a:off x="4896852" y="697832"/>
              <a:ext cx="517358" cy="16844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705"/>
            </a:p>
          </p:txBody>
        </p:sp>
        <p:sp>
          <p:nvSpPr>
            <p:cNvPr id="23" name="Rectangle 22"/>
            <p:cNvSpPr/>
            <p:nvPr/>
          </p:nvSpPr>
          <p:spPr>
            <a:xfrm>
              <a:off x="5414209" y="697832"/>
              <a:ext cx="517358" cy="16844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705"/>
            </a:p>
          </p:txBody>
        </p:sp>
        <p:sp>
          <p:nvSpPr>
            <p:cNvPr id="24" name="Rectangle 23"/>
            <p:cNvSpPr/>
            <p:nvPr/>
          </p:nvSpPr>
          <p:spPr>
            <a:xfrm>
              <a:off x="5931566" y="697832"/>
              <a:ext cx="517358" cy="1684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705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6448923" y="697832"/>
              <a:ext cx="517358" cy="1684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705"/>
            </a:p>
          </p:txBody>
        </p:sp>
      </p:grp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528260"/>
            <a:ext cx="12192000" cy="1801480"/>
          </a:xfrm>
          <a:prstGeom prst="rect">
            <a:avLst/>
          </a:prstGeom>
          <a:gradFill>
            <a:gsLst>
              <a:gs pos="66000">
                <a:schemeClr val="accent3"/>
              </a:gs>
              <a:gs pos="33000">
                <a:schemeClr val="accent2"/>
              </a:gs>
              <a:gs pos="0">
                <a:schemeClr val="accent1"/>
              </a:gs>
              <a:gs pos="96000">
                <a:schemeClr val="accent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ko-KR" altLang="en-US" sz="1705">
              <a:cs typeface="Arial" panose="020B0604020202020204" pitchFamily="34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0" hasCustomPrompt="1"/>
          </p:nvPr>
        </p:nvSpPr>
        <p:spPr>
          <a:xfrm>
            <a:off x="6177663" y="980038"/>
            <a:ext cx="4897924" cy="4897924"/>
          </a:xfrm>
          <a:custGeom>
            <a:avLst/>
            <a:gdLst>
              <a:gd name="connsiteX0" fmla="*/ 2448962 w 4897924"/>
              <a:gd name="connsiteY0" fmla="*/ 0 h 4897924"/>
              <a:gd name="connsiteX1" fmla="*/ 4897924 w 4897924"/>
              <a:gd name="connsiteY1" fmla="*/ 2448962 h 4897924"/>
              <a:gd name="connsiteX2" fmla="*/ 2448962 w 4897924"/>
              <a:gd name="connsiteY2" fmla="*/ 4897924 h 4897924"/>
              <a:gd name="connsiteX3" fmla="*/ 0 w 4897924"/>
              <a:gd name="connsiteY3" fmla="*/ 2448962 h 4897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97924" h="4897924">
                <a:moveTo>
                  <a:pt x="2448962" y="0"/>
                </a:moveTo>
                <a:lnTo>
                  <a:pt x="4897924" y="2448962"/>
                </a:lnTo>
                <a:lnTo>
                  <a:pt x="2448962" y="4897924"/>
                </a:lnTo>
                <a:lnTo>
                  <a:pt x="0" y="244896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556895" rtl="0" eaLnBrk="1" fontAlgn="auto" latinLnBrk="1" hangingPunct="1">
              <a:lnSpc>
                <a:spcPct val="90000"/>
              </a:lnSpc>
              <a:spcBef>
                <a:spcPts val="610"/>
              </a:spcBef>
              <a:spcAft>
                <a:spcPts val="0"/>
              </a:spcAft>
              <a:buClrTx/>
              <a:buSzTx/>
              <a:buFontTx/>
              <a:buNone/>
              <a:defRPr sz="1095"/>
            </a:lvl1pPr>
          </a:lstStyle>
          <a:p>
            <a:r>
              <a:rPr lang="en-US" altLang="ko-KR" dirty="0"/>
              <a:t>Your Picture Here And Send To Back</a:t>
            </a:r>
            <a:endParaRPr lang="ko-KR" altLang="en-US" dirty="0"/>
          </a:p>
        </p:txBody>
      </p:sp>
      <p:sp>
        <p:nvSpPr>
          <p:cNvPr id="16" name="Freeform: Shape 15"/>
          <p:cNvSpPr/>
          <p:nvPr userDrawn="1"/>
        </p:nvSpPr>
        <p:spPr>
          <a:xfrm rot="10800000">
            <a:off x="1" y="577086"/>
            <a:ext cx="10468345" cy="1826128"/>
          </a:xfrm>
          <a:custGeom>
            <a:avLst/>
            <a:gdLst>
              <a:gd name="connsiteX0" fmla="*/ 1829628 w 10468344"/>
              <a:gd name="connsiteY0" fmla="*/ 1826128 h 1826128"/>
              <a:gd name="connsiteX1" fmla="*/ 0 w 10468344"/>
              <a:gd name="connsiteY1" fmla="*/ 25683 h 1826128"/>
              <a:gd name="connsiteX2" fmla="*/ 5529 w 10468344"/>
              <a:gd name="connsiteY2" fmla="*/ 20065 h 1826128"/>
              <a:gd name="connsiteX3" fmla="*/ 229959 w 10468344"/>
              <a:gd name="connsiteY3" fmla="*/ 20064 h 1826128"/>
              <a:gd name="connsiteX4" fmla="*/ 1829436 w 10468344"/>
              <a:gd name="connsiteY4" fmla="*/ 1594029 h 1826128"/>
              <a:gd name="connsiteX5" fmla="*/ 3443085 w 10468344"/>
              <a:gd name="connsiteY5" fmla="*/ 6119 h 1826128"/>
              <a:gd name="connsiteX6" fmla="*/ 3444974 w 10468344"/>
              <a:gd name="connsiteY6" fmla="*/ 8038 h 1826128"/>
              <a:gd name="connsiteX7" fmla="*/ 3444974 w 10468344"/>
              <a:gd name="connsiteY7" fmla="*/ 0 h 1826128"/>
              <a:gd name="connsiteX8" fmla="*/ 10468344 w 10468344"/>
              <a:gd name="connsiteY8" fmla="*/ 0 h 1826128"/>
              <a:gd name="connsiteX9" fmla="*/ 10468344 w 10468344"/>
              <a:gd name="connsiteY9" fmla="*/ 165298 h 1826128"/>
              <a:gd name="connsiteX10" fmla="*/ 3516995 w 10468344"/>
              <a:gd name="connsiteY10" fmla="*/ 165298 h 1826128"/>
              <a:gd name="connsiteX11" fmla="*/ 1877405 w 10468344"/>
              <a:gd name="connsiteY11" fmla="*/ 1778735 h 1826128"/>
              <a:gd name="connsiteX12" fmla="*/ 1876835 w 10468344"/>
              <a:gd name="connsiteY12" fmla="*/ 1778156 h 1826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0468344" h="1826128">
                <a:moveTo>
                  <a:pt x="1829628" y="1826128"/>
                </a:moveTo>
                <a:lnTo>
                  <a:pt x="0" y="25683"/>
                </a:lnTo>
                <a:lnTo>
                  <a:pt x="5529" y="20065"/>
                </a:lnTo>
                <a:lnTo>
                  <a:pt x="229959" y="20064"/>
                </a:lnTo>
                <a:lnTo>
                  <a:pt x="1829436" y="1594029"/>
                </a:lnTo>
                <a:lnTo>
                  <a:pt x="3443085" y="6119"/>
                </a:lnTo>
                <a:lnTo>
                  <a:pt x="3444974" y="8038"/>
                </a:lnTo>
                <a:lnTo>
                  <a:pt x="3444974" y="0"/>
                </a:lnTo>
                <a:lnTo>
                  <a:pt x="10468344" y="0"/>
                </a:lnTo>
                <a:lnTo>
                  <a:pt x="10468344" y="165298"/>
                </a:lnTo>
                <a:lnTo>
                  <a:pt x="3516995" y="165298"/>
                </a:lnTo>
                <a:lnTo>
                  <a:pt x="1877405" y="1778735"/>
                </a:lnTo>
                <a:lnTo>
                  <a:pt x="1876835" y="1778156"/>
                </a:lnTo>
                <a:close/>
              </a:path>
            </a:pathLst>
          </a:custGeom>
          <a:gradFill flip="none" rotWithShape="1">
            <a:gsLst>
              <a:gs pos="66000">
                <a:schemeClr val="accent3"/>
              </a:gs>
              <a:gs pos="33000">
                <a:schemeClr val="accent2"/>
              </a:gs>
              <a:gs pos="0">
                <a:schemeClr val="accent1"/>
              </a:gs>
              <a:gs pos="96000">
                <a:schemeClr val="accent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705">
              <a:cs typeface="Arial" panose="020B0604020202020204" pitchFamily="34" charset="0"/>
            </a:endParaRPr>
          </a:p>
        </p:txBody>
      </p:sp>
      <p:sp>
        <p:nvSpPr>
          <p:cNvPr id="17" name="Freeform: Shape 16"/>
          <p:cNvSpPr/>
          <p:nvPr userDrawn="1"/>
        </p:nvSpPr>
        <p:spPr>
          <a:xfrm>
            <a:off x="6799273" y="4451553"/>
            <a:ext cx="5392729" cy="1832749"/>
          </a:xfrm>
          <a:custGeom>
            <a:avLst/>
            <a:gdLst>
              <a:gd name="connsiteX0" fmla="*/ 3456032 w 5392729"/>
              <a:gd name="connsiteY0" fmla="*/ 0 h 1832749"/>
              <a:gd name="connsiteX1" fmla="*/ 3461074 w 5392729"/>
              <a:gd name="connsiteY1" fmla="*/ 5124 h 1832749"/>
              <a:gd name="connsiteX2" fmla="*/ 3461074 w 5392729"/>
              <a:gd name="connsiteY2" fmla="*/ 2963 h 1832749"/>
              <a:gd name="connsiteX3" fmla="*/ 5392729 w 5392729"/>
              <a:gd name="connsiteY3" fmla="*/ 2963 h 1832749"/>
              <a:gd name="connsiteX4" fmla="*/ 5392729 w 5392729"/>
              <a:gd name="connsiteY4" fmla="*/ 168261 h 1832749"/>
              <a:gd name="connsiteX5" fmla="*/ 3520712 w 5392729"/>
              <a:gd name="connsiteY5" fmla="*/ 168261 h 1832749"/>
              <a:gd name="connsiteX6" fmla="*/ 1877406 w 5392729"/>
              <a:gd name="connsiteY6" fmla="*/ 1785355 h 1832749"/>
              <a:gd name="connsiteX7" fmla="*/ 1876837 w 5392729"/>
              <a:gd name="connsiteY7" fmla="*/ 1784777 h 1832749"/>
              <a:gd name="connsiteX8" fmla="*/ 1829630 w 5392729"/>
              <a:gd name="connsiteY8" fmla="*/ 1832749 h 1832749"/>
              <a:gd name="connsiteX9" fmla="*/ 0 w 5392729"/>
              <a:gd name="connsiteY9" fmla="*/ 32302 h 1832749"/>
              <a:gd name="connsiteX10" fmla="*/ 5528 w 5392729"/>
              <a:gd name="connsiteY10" fmla="*/ 26684 h 1832749"/>
              <a:gd name="connsiteX11" fmla="*/ 229959 w 5392729"/>
              <a:gd name="connsiteY11" fmla="*/ 26683 h 1832749"/>
              <a:gd name="connsiteX12" fmla="*/ 1829438 w 5392729"/>
              <a:gd name="connsiteY12" fmla="*/ 1600649 h 1832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392729" h="1832749">
                <a:moveTo>
                  <a:pt x="3456032" y="0"/>
                </a:moveTo>
                <a:lnTo>
                  <a:pt x="3461074" y="5124"/>
                </a:lnTo>
                <a:lnTo>
                  <a:pt x="3461074" y="2963"/>
                </a:lnTo>
                <a:lnTo>
                  <a:pt x="5392729" y="2963"/>
                </a:lnTo>
                <a:lnTo>
                  <a:pt x="5392729" y="168261"/>
                </a:lnTo>
                <a:lnTo>
                  <a:pt x="3520712" y="168261"/>
                </a:lnTo>
                <a:lnTo>
                  <a:pt x="1877406" y="1785355"/>
                </a:lnTo>
                <a:lnTo>
                  <a:pt x="1876837" y="1784777"/>
                </a:lnTo>
                <a:lnTo>
                  <a:pt x="1829630" y="1832749"/>
                </a:lnTo>
                <a:lnTo>
                  <a:pt x="0" y="32302"/>
                </a:lnTo>
                <a:lnTo>
                  <a:pt x="5528" y="26684"/>
                </a:lnTo>
                <a:lnTo>
                  <a:pt x="229959" y="26683"/>
                </a:lnTo>
                <a:lnTo>
                  <a:pt x="1829438" y="1600649"/>
                </a:lnTo>
                <a:close/>
              </a:path>
            </a:pathLst>
          </a:custGeom>
          <a:gradFill>
            <a:gsLst>
              <a:gs pos="66000">
                <a:schemeClr val="accent3"/>
              </a:gs>
              <a:gs pos="33000">
                <a:schemeClr val="accent2"/>
              </a:gs>
              <a:gs pos="0">
                <a:schemeClr val="accent1"/>
              </a:gs>
              <a:gs pos="96000">
                <a:schemeClr val="accent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705" dirty="0"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/>
          <a:srcRect l="1113" t="127" r="9904" b="-127"/>
          <a:stretch>
            <a:fillRect/>
          </a:stretch>
        </p:blipFill>
        <p:spPr>
          <a:xfrm>
            <a:off x="-14177" y="0"/>
            <a:ext cx="12206177" cy="6858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55158" b="72627"/>
          <a:stretch>
            <a:fillRect/>
          </a:stretch>
        </p:blipFill>
        <p:spPr>
          <a:xfrm>
            <a:off x="10289138" y="151803"/>
            <a:ext cx="1650103" cy="69522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5658419" y="4"/>
            <a:ext cx="6533583" cy="6857999"/>
          </a:xfrm>
          <a:custGeom>
            <a:avLst/>
            <a:gdLst>
              <a:gd name="connsiteX0" fmla="*/ 2592666 w 6533583"/>
              <a:gd name="connsiteY0" fmla="*/ 0 h 6857999"/>
              <a:gd name="connsiteX1" fmla="*/ 6533583 w 6533583"/>
              <a:gd name="connsiteY1" fmla="*/ 0 h 6857999"/>
              <a:gd name="connsiteX2" fmla="*/ 6533583 w 6533583"/>
              <a:gd name="connsiteY2" fmla="*/ 1085634 h 6857999"/>
              <a:gd name="connsiteX3" fmla="*/ 4351340 w 6533583"/>
              <a:gd name="connsiteY3" fmla="*/ 6857999 h 6857999"/>
              <a:gd name="connsiteX4" fmla="*/ 0 w 6533583"/>
              <a:gd name="connsiteY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33583" h="6857999">
                <a:moveTo>
                  <a:pt x="2592666" y="0"/>
                </a:moveTo>
                <a:lnTo>
                  <a:pt x="6533583" y="0"/>
                </a:lnTo>
                <a:lnTo>
                  <a:pt x="6533583" y="1085634"/>
                </a:lnTo>
                <a:lnTo>
                  <a:pt x="4351340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556895" rtl="0" eaLnBrk="1" fontAlgn="auto" latinLnBrk="1" hangingPunct="1">
              <a:lnSpc>
                <a:spcPct val="90000"/>
              </a:lnSpc>
              <a:spcBef>
                <a:spcPts val="610"/>
              </a:spcBef>
              <a:spcAft>
                <a:spcPts val="0"/>
              </a:spcAft>
              <a:buClrTx/>
              <a:buSzTx/>
              <a:buFontTx/>
              <a:buNone/>
              <a:defRPr sz="1095"/>
            </a:lvl1pPr>
          </a:lstStyle>
          <a:p>
            <a:r>
              <a:rPr lang="en-US" altLang="ko-KR" dirty="0"/>
              <a:t>Your Picture Here And Send To Back</a:t>
            </a:r>
            <a:endParaRPr lang="ko-KR" altLang="en-US" dirty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1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자유형: 도형 8"/>
          <p:cNvSpPr>
            <a:spLocks noGrp="1"/>
          </p:cNvSpPr>
          <p:nvPr>
            <p:ph type="pic" idx="11" hasCustomPrompt="1"/>
          </p:nvPr>
        </p:nvSpPr>
        <p:spPr>
          <a:xfrm>
            <a:off x="1466103" y="846038"/>
            <a:ext cx="5529991" cy="5456343"/>
          </a:xfrm>
          <a:custGeom>
            <a:avLst/>
            <a:gdLst>
              <a:gd name="connsiteX0" fmla="*/ 5203477 w 5529990"/>
              <a:gd name="connsiteY0" fmla="*/ 4996820 h 5456343"/>
              <a:gd name="connsiteX1" fmla="*/ 5205385 w 5529990"/>
              <a:gd name="connsiteY1" fmla="*/ 4997961 h 5456343"/>
              <a:gd name="connsiteX2" fmla="*/ 5204062 w 5529990"/>
              <a:gd name="connsiteY2" fmla="*/ 4999290 h 5456343"/>
              <a:gd name="connsiteX3" fmla="*/ 3285288 w 5529990"/>
              <a:gd name="connsiteY3" fmla="*/ 850958 h 5456343"/>
              <a:gd name="connsiteX4" fmla="*/ 3285287 w 5529990"/>
              <a:gd name="connsiteY4" fmla="*/ 957889 h 5456343"/>
              <a:gd name="connsiteX5" fmla="*/ 3309883 w 5529990"/>
              <a:gd name="connsiteY5" fmla="*/ 964960 h 5456343"/>
              <a:gd name="connsiteX6" fmla="*/ 3342876 w 5529990"/>
              <a:gd name="connsiteY6" fmla="*/ 959101 h 5456343"/>
              <a:gd name="connsiteX7" fmla="*/ 3347625 w 5529990"/>
              <a:gd name="connsiteY7" fmla="*/ 953011 h 5456343"/>
              <a:gd name="connsiteX8" fmla="*/ 3340340 w 5529990"/>
              <a:gd name="connsiteY8" fmla="*/ 917595 h 5456343"/>
              <a:gd name="connsiteX9" fmla="*/ 3323433 w 5529990"/>
              <a:gd name="connsiteY9" fmla="*/ 872062 h 5456343"/>
              <a:gd name="connsiteX10" fmla="*/ 3302259 w 5529990"/>
              <a:gd name="connsiteY10" fmla="*/ 854999 h 5456343"/>
              <a:gd name="connsiteX11" fmla="*/ 97597 w 5529990"/>
              <a:gd name="connsiteY11" fmla="*/ 97597 h 5456343"/>
              <a:gd name="connsiteX12" fmla="*/ 97597 w 5529990"/>
              <a:gd name="connsiteY12" fmla="*/ 3380541 h 5456343"/>
              <a:gd name="connsiteX13" fmla="*/ 925476 w 5529990"/>
              <a:gd name="connsiteY13" fmla="*/ 3380541 h 5456343"/>
              <a:gd name="connsiteX14" fmla="*/ 946229 w 5529990"/>
              <a:gd name="connsiteY14" fmla="*/ 3355733 h 5456343"/>
              <a:gd name="connsiteX15" fmla="*/ 978940 w 5529990"/>
              <a:gd name="connsiteY15" fmla="*/ 3351467 h 5456343"/>
              <a:gd name="connsiteX16" fmla="*/ 1007525 w 5529990"/>
              <a:gd name="connsiteY16" fmla="*/ 3349520 h 5456343"/>
              <a:gd name="connsiteX17" fmla="*/ 1031564 w 5529990"/>
              <a:gd name="connsiteY17" fmla="*/ 3353683 h 5456343"/>
              <a:gd name="connsiteX18" fmla="*/ 1032954 w 5529990"/>
              <a:gd name="connsiteY18" fmla="*/ 3351929 h 5456343"/>
              <a:gd name="connsiteX19" fmla="*/ 1046660 w 5529990"/>
              <a:gd name="connsiteY19" fmla="*/ 3307002 h 5456343"/>
              <a:gd name="connsiteX20" fmla="*/ 1050343 w 5529990"/>
              <a:gd name="connsiteY20" fmla="*/ 3285495 h 5456343"/>
              <a:gd name="connsiteX21" fmla="*/ 1053485 w 5529990"/>
              <a:gd name="connsiteY21" fmla="*/ 3281034 h 5456343"/>
              <a:gd name="connsiteX22" fmla="*/ 213108 w 5529990"/>
              <a:gd name="connsiteY22" fmla="*/ 3281033 h 5456343"/>
              <a:gd name="connsiteX23" fmla="*/ 213107 w 5529990"/>
              <a:gd name="connsiteY23" fmla="*/ 208854 h 5456343"/>
              <a:gd name="connsiteX24" fmla="*/ 3285287 w 5529990"/>
              <a:gd name="connsiteY24" fmla="*/ 208854 h 5456343"/>
              <a:gd name="connsiteX25" fmla="*/ 3285287 w 5529990"/>
              <a:gd name="connsiteY25" fmla="*/ 805089 h 5456343"/>
              <a:gd name="connsiteX26" fmla="*/ 3285421 w 5529990"/>
              <a:gd name="connsiteY26" fmla="*/ 805084 h 5456343"/>
              <a:gd name="connsiteX27" fmla="*/ 3308726 w 5529990"/>
              <a:gd name="connsiteY27" fmla="*/ 825294 h 5456343"/>
              <a:gd name="connsiteX28" fmla="*/ 3343101 w 5529990"/>
              <a:gd name="connsiteY28" fmla="*/ 834936 h 5456343"/>
              <a:gd name="connsiteX29" fmla="*/ 3357542 w 5529990"/>
              <a:gd name="connsiteY29" fmla="*/ 829717 h 5456343"/>
              <a:gd name="connsiteX30" fmla="*/ 3389087 w 5529990"/>
              <a:gd name="connsiteY30" fmla="*/ 840123 h 5456343"/>
              <a:gd name="connsiteX31" fmla="*/ 3389087 w 5529990"/>
              <a:gd name="connsiteY31" fmla="*/ 97597 h 5456343"/>
              <a:gd name="connsiteX32" fmla="*/ 0 w 5529990"/>
              <a:gd name="connsiteY32" fmla="*/ 0 h 5456343"/>
              <a:gd name="connsiteX33" fmla="*/ 3486684 w 5529990"/>
              <a:gd name="connsiteY33" fmla="*/ 0 h 5456343"/>
              <a:gd name="connsiteX34" fmla="*/ 3486684 w 5529990"/>
              <a:gd name="connsiteY34" fmla="*/ 833838 h 5456343"/>
              <a:gd name="connsiteX35" fmla="*/ 3500172 w 5529990"/>
              <a:gd name="connsiteY35" fmla="*/ 834269 h 5456343"/>
              <a:gd name="connsiteX36" fmla="*/ 3516226 w 5529990"/>
              <a:gd name="connsiteY36" fmla="*/ 839003 h 5456343"/>
              <a:gd name="connsiteX37" fmla="*/ 3647545 w 5529990"/>
              <a:gd name="connsiteY37" fmla="*/ 866570 h 5456343"/>
              <a:gd name="connsiteX38" fmla="*/ 3662947 w 5529990"/>
              <a:gd name="connsiteY38" fmla="*/ 857912 h 5456343"/>
              <a:gd name="connsiteX39" fmla="*/ 3656762 w 5529990"/>
              <a:gd name="connsiteY39" fmla="*/ 846906 h 5456343"/>
              <a:gd name="connsiteX40" fmla="*/ 3515960 w 5529990"/>
              <a:gd name="connsiteY40" fmla="*/ 787015 h 5456343"/>
              <a:gd name="connsiteX41" fmla="*/ 3489147 w 5529990"/>
              <a:gd name="connsiteY41" fmla="*/ 770223 h 5456343"/>
              <a:gd name="connsiteX42" fmla="*/ 3498229 w 5529990"/>
              <a:gd name="connsiteY42" fmla="*/ 724565 h 5456343"/>
              <a:gd name="connsiteX43" fmla="*/ 3516829 w 5529990"/>
              <a:gd name="connsiteY43" fmla="*/ 717732 h 5456343"/>
              <a:gd name="connsiteX44" fmla="*/ 3531095 w 5529990"/>
              <a:gd name="connsiteY44" fmla="*/ 726369 h 5456343"/>
              <a:gd name="connsiteX45" fmla="*/ 3557357 w 5529990"/>
              <a:gd name="connsiteY45" fmla="*/ 731881 h 5456343"/>
              <a:gd name="connsiteX46" fmla="*/ 3581695 w 5529990"/>
              <a:gd name="connsiteY46" fmla="*/ 744271 h 5456343"/>
              <a:gd name="connsiteX47" fmla="*/ 3651817 w 5529990"/>
              <a:gd name="connsiteY47" fmla="*/ 791752 h 5456343"/>
              <a:gd name="connsiteX48" fmla="*/ 3701043 w 5529990"/>
              <a:gd name="connsiteY48" fmla="*/ 827808 h 5456343"/>
              <a:gd name="connsiteX49" fmla="*/ 3778589 w 5529990"/>
              <a:gd name="connsiteY49" fmla="*/ 888498 h 5456343"/>
              <a:gd name="connsiteX50" fmla="*/ 3870983 w 5529990"/>
              <a:gd name="connsiteY50" fmla="*/ 975599 h 5456343"/>
              <a:gd name="connsiteX51" fmla="*/ 3913472 w 5529990"/>
              <a:gd name="connsiteY51" fmla="*/ 989372 h 5456343"/>
              <a:gd name="connsiteX52" fmla="*/ 3940973 w 5529990"/>
              <a:gd name="connsiteY52" fmla="*/ 997085 h 5456343"/>
              <a:gd name="connsiteX53" fmla="*/ 3982772 w 5529990"/>
              <a:gd name="connsiteY53" fmla="*/ 1019936 h 5456343"/>
              <a:gd name="connsiteX54" fmla="*/ 3937964 w 5529990"/>
              <a:gd name="connsiteY54" fmla="*/ 888706 h 5456343"/>
              <a:gd name="connsiteX55" fmla="*/ 3899601 w 5529990"/>
              <a:gd name="connsiteY55" fmla="*/ 866821 h 5456343"/>
              <a:gd name="connsiteX56" fmla="*/ 3853267 w 5529990"/>
              <a:gd name="connsiteY56" fmla="*/ 820451 h 5456343"/>
              <a:gd name="connsiteX57" fmla="*/ 3829759 w 5529990"/>
              <a:gd name="connsiteY57" fmla="*/ 778630 h 5456343"/>
              <a:gd name="connsiteX58" fmla="*/ 3899474 w 5529990"/>
              <a:gd name="connsiteY58" fmla="*/ 794477 h 5456343"/>
              <a:gd name="connsiteX59" fmla="*/ 3949113 w 5529990"/>
              <a:gd name="connsiteY59" fmla="*/ 815817 h 5456343"/>
              <a:gd name="connsiteX60" fmla="*/ 3979087 w 5529990"/>
              <a:gd name="connsiteY60" fmla="*/ 827934 h 5456343"/>
              <a:gd name="connsiteX61" fmla="*/ 4029548 w 5529990"/>
              <a:gd name="connsiteY61" fmla="*/ 866192 h 5456343"/>
              <a:gd name="connsiteX62" fmla="*/ 4074646 w 5529990"/>
              <a:gd name="connsiteY62" fmla="*/ 910362 h 5456343"/>
              <a:gd name="connsiteX63" fmla="*/ 4111496 w 5529990"/>
              <a:gd name="connsiteY63" fmla="*/ 924407 h 5456343"/>
              <a:gd name="connsiteX64" fmla="*/ 4161957 w 5529990"/>
              <a:gd name="connsiteY64" fmla="*/ 962664 h 5456343"/>
              <a:gd name="connsiteX65" fmla="*/ 4131426 w 5529990"/>
              <a:gd name="connsiteY65" fmla="*/ 985620 h 5456343"/>
              <a:gd name="connsiteX66" fmla="*/ 4134857 w 5529990"/>
              <a:gd name="connsiteY66" fmla="*/ 1032933 h 5456343"/>
              <a:gd name="connsiteX67" fmla="*/ 4138703 w 5529990"/>
              <a:gd name="connsiteY67" fmla="*/ 1065530 h 5456343"/>
              <a:gd name="connsiteX68" fmla="*/ 4128249 w 5529990"/>
              <a:gd name="connsiteY68" fmla="*/ 1082993 h 5456343"/>
              <a:gd name="connsiteX69" fmla="*/ 4147363 w 5529990"/>
              <a:gd name="connsiteY69" fmla="*/ 1080938 h 5456343"/>
              <a:gd name="connsiteX70" fmla="*/ 4170738 w 5529990"/>
              <a:gd name="connsiteY70" fmla="*/ 1096765 h 5456343"/>
              <a:gd name="connsiteX71" fmla="*/ 4166471 w 5529990"/>
              <a:gd name="connsiteY71" fmla="*/ 1125234 h 5456343"/>
              <a:gd name="connsiteX72" fmla="*/ 4151337 w 5529990"/>
              <a:gd name="connsiteY72" fmla="*/ 1185880 h 5456343"/>
              <a:gd name="connsiteX73" fmla="*/ 4159309 w 5529990"/>
              <a:gd name="connsiteY73" fmla="*/ 1210365 h 5456343"/>
              <a:gd name="connsiteX74" fmla="*/ 4205665 w 5529990"/>
              <a:gd name="connsiteY74" fmla="*/ 1117687 h 5456343"/>
              <a:gd name="connsiteX75" fmla="*/ 4209517 w 5529990"/>
              <a:gd name="connsiteY75" fmla="*/ 1103935 h 5456343"/>
              <a:gd name="connsiteX76" fmla="*/ 4224918 w 5529990"/>
              <a:gd name="connsiteY76" fmla="*/ 1095278 h 5456343"/>
              <a:gd name="connsiteX77" fmla="*/ 4232341 w 5529990"/>
              <a:gd name="connsiteY77" fmla="*/ 1108484 h 5456343"/>
              <a:gd name="connsiteX78" fmla="*/ 4211843 w 5529990"/>
              <a:gd name="connsiteY78" fmla="*/ 1175042 h 5456343"/>
              <a:gd name="connsiteX79" fmla="*/ 4227373 w 5529990"/>
              <a:gd name="connsiteY79" fmla="*/ 1238729 h 5456343"/>
              <a:gd name="connsiteX80" fmla="*/ 4277010 w 5529990"/>
              <a:gd name="connsiteY80" fmla="*/ 1260069 h 5456343"/>
              <a:gd name="connsiteX81" fmla="*/ 4319914 w 5529990"/>
              <a:gd name="connsiteY81" fmla="*/ 1259126 h 5456343"/>
              <a:gd name="connsiteX82" fmla="*/ 4394024 w 5529990"/>
              <a:gd name="connsiteY82" fmla="*/ 1318850 h 5456343"/>
              <a:gd name="connsiteX83" fmla="*/ 4439529 w 5529990"/>
              <a:gd name="connsiteY83" fmla="*/ 1394653 h 5456343"/>
              <a:gd name="connsiteX84" fmla="*/ 4465896 w 5529990"/>
              <a:gd name="connsiteY84" fmla="*/ 1405900 h 5456343"/>
              <a:gd name="connsiteX85" fmla="*/ 4496792 w 5529990"/>
              <a:gd name="connsiteY85" fmla="*/ 1389917 h 5456343"/>
              <a:gd name="connsiteX86" fmla="*/ 4517002 w 5529990"/>
              <a:gd name="connsiteY86" fmla="*/ 1350259 h 5456343"/>
              <a:gd name="connsiteX87" fmla="*/ 4543362 w 5529990"/>
              <a:gd name="connsiteY87" fmla="*/ 1292820 h 5456343"/>
              <a:gd name="connsiteX88" fmla="*/ 4573307 w 5529990"/>
              <a:gd name="connsiteY88" fmla="*/ 1288454 h 5456343"/>
              <a:gd name="connsiteX89" fmla="*/ 4586211 w 5529990"/>
              <a:gd name="connsiteY89" fmla="*/ 1309822 h 5456343"/>
              <a:gd name="connsiteX90" fmla="*/ 4565007 w 5529990"/>
              <a:gd name="connsiteY90" fmla="*/ 1374097 h 5456343"/>
              <a:gd name="connsiteX91" fmla="*/ 4525037 w 5529990"/>
              <a:gd name="connsiteY91" fmla="*/ 1424592 h 5456343"/>
              <a:gd name="connsiteX92" fmla="*/ 4537809 w 5529990"/>
              <a:gd name="connsiteY92" fmla="*/ 1428478 h 5456343"/>
              <a:gd name="connsiteX93" fmla="*/ 4570157 w 5529990"/>
              <a:gd name="connsiteY93" fmla="*/ 1431296 h 5456343"/>
              <a:gd name="connsiteX94" fmla="*/ 4584183 w 5529990"/>
              <a:gd name="connsiteY94" fmla="*/ 1440791 h 5456343"/>
              <a:gd name="connsiteX95" fmla="*/ 4615797 w 5529990"/>
              <a:gd name="connsiteY95" fmla="*/ 1533093 h 5456343"/>
              <a:gd name="connsiteX96" fmla="*/ 4630077 w 5529990"/>
              <a:gd name="connsiteY96" fmla="*/ 1568154 h 5456343"/>
              <a:gd name="connsiteX97" fmla="*/ 4642622 w 5529990"/>
              <a:gd name="connsiteY97" fmla="*/ 1584865 h 5456343"/>
              <a:gd name="connsiteX98" fmla="*/ 4650392 w 5529990"/>
              <a:gd name="connsiteY98" fmla="*/ 1585335 h 5456343"/>
              <a:gd name="connsiteX99" fmla="*/ 4706855 w 5529990"/>
              <a:gd name="connsiteY99" fmla="*/ 1574900 h 5456343"/>
              <a:gd name="connsiteX100" fmla="*/ 4733741 w 5529990"/>
              <a:gd name="connsiteY100" fmla="*/ 1584777 h 5456343"/>
              <a:gd name="connsiteX101" fmla="*/ 4735707 w 5529990"/>
              <a:gd name="connsiteY101" fmla="*/ 1602394 h 5456343"/>
              <a:gd name="connsiteX102" fmla="*/ 4744256 w 5529990"/>
              <a:gd name="connsiteY102" fmla="*/ 1600647 h 5456343"/>
              <a:gd name="connsiteX103" fmla="*/ 4780936 w 5529990"/>
              <a:gd name="connsiteY103" fmla="*/ 1605372 h 5456343"/>
              <a:gd name="connsiteX104" fmla="*/ 4803756 w 5529990"/>
              <a:gd name="connsiteY104" fmla="*/ 1656271 h 5456343"/>
              <a:gd name="connsiteX105" fmla="*/ 4782161 w 5529990"/>
              <a:gd name="connsiteY105" fmla="*/ 1700274 h 5456343"/>
              <a:gd name="connsiteX106" fmla="*/ 4785999 w 5529990"/>
              <a:gd name="connsiteY106" fmla="*/ 1779221 h 5456343"/>
              <a:gd name="connsiteX107" fmla="*/ 4800847 w 5529990"/>
              <a:gd name="connsiteY107" fmla="*/ 1805635 h 5456343"/>
              <a:gd name="connsiteX108" fmla="*/ 4804501 w 5529990"/>
              <a:gd name="connsiteY108" fmla="*/ 1810637 h 5456343"/>
              <a:gd name="connsiteX109" fmla="*/ 4845375 w 5529990"/>
              <a:gd name="connsiteY109" fmla="*/ 1808249 h 5456343"/>
              <a:gd name="connsiteX110" fmla="*/ 4843969 w 5529990"/>
              <a:gd name="connsiteY110" fmla="*/ 1825149 h 5456343"/>
              <a:gd name="connsiteX111" fmla="*/ 4843929 w 5529990"/>
              <a:gd name="connsiteY111" fmla="*/ 1825206 h 5456343"/>
              <a:gd name="connsiteX112" fmla="*/ 4852839 w 5529990"/>
              <a:gd name="connsiteY112" fmla="*/ 1826013 h 5456343"/>
              <a:gd name="connsiteX113" fmla="*/ 4872074 w 5529990"/>
              <a:gd name="connsiteY113" fmla="*/ 1829323 h 5456343"/>
              <a:gd name="connsiteX114" fmla="*/ 4925096 w 5529990"/>
              <a:gd name="connsiteY114" fmla="*/ 1859262 h 5456343"/>
              <a:gd name="connsiteX115" fmla="*/ 4929808 w 5529990"/>
              <a:gd name="connsiteY115" fmla="*/ 1883858 h 5456343"/>
              <a:gd name="connsiteX116" fmla="*/ 4939343 w 5529990"/>
              <a:gd name="connsiteY116" fmla="*/ 1886966 h 5456343"/>
              <a:gd name="connsiteX117" fmla="*/ 4991962 w 5529990"/>
              <a:gd name="connsiteY117" fmla="*/ 1878897 h 5456343"/>
              <a:gd name="connsiteX118" fmla="*/ 5003950 w 5529990"/>
              <a:gd name="connsiteY118" fmla="*/ 1880575 h 5456343"/>
              <a:gd name="connsiteX119" fmla="*/ 4972381 w 5529990"/>
              <a:gd name="connsiteY119" fmla="*/ 1914056 h 5456343"/>
              <a:gd name="connsiteX120" fmla="*/ 4975836 w 5529990"/>
              <a:gd name="connsiteY120" fmla="*/ 1924321 h 5456343"/>
              <a:gd name="connsiteX121" fmla="*/ 5015575 w 5529990"/>
              <a:gd name="connsiteY121" fmla="*/ 2048343 h 5456343"/>
              <a:gd name="connsiteX122" fmla="*/ 5014612 w 5529990"/>
              <a:gd name="connsiteY122" fmla="*/ 2066816 h 5456343"/>
              <a:gd name="connsiteX123" fmla="*/ 5068869 w 5529990"/>
              <a:gd name="connsiteY123" fmla="*/ 2055795 h 5456343"/>
              <a:gd name="connsiteX124" fmla="*/ 5135512 w 5529990"/>
              <a:gd name="connsiteY124" fmla="*/ 2040422 h 5456343"/>
              <a:gd name="connsiteX125" fmla="*/ 5180616 w 5529990"/>
              <a:gd name="connsiteY125" fmla="*/ 2038241 h 5456343"/>
              <a:gd name="connsiteX126" fmla="*/ 5204265 w 5529990"/>
              <a:gd name="connsiteY126" fmla="*/ 2059708 h 5456343"/>
              <a:gd name="connsiteX127" fmla="*/ 5192160 w 5529990"/>
              <a:gd name="connsiteY127" fmla="*/ 2089685 h 5456343"/>
              <a:gd name="connsiteX128" fmla="*/ 5148842 w 5529990"/>
              <a:gd name="connsiteY128" fmla="*/ 2105345 h 5456343"/>
              <a:gd name="connsiteX129" fmla="*/ 5101673 w 5529990"/>
              <a:gd name="connsiteY129" fmla="*/ 2134757 h 5456343"/>
              <a:gd name="connsiteX130" fmla="*/ 5078431 w 5529990"/>
              <a:gd name="connsiteY130" fmla="*/ 2144923 h 5456343"/>
              <a:gd name="connsiteX131" fmla="*/ 5052563 w 5529990"/>
              <a:gd name="connsiteY131" fmla="*/ 2144620 h 5456343"/>
              <a:gd name="connsiteX132" fmla="*/ 5037286 w 5529990"/>
              <a:gd name="connsiteY132" fmla="*/ 2142869 h 5456343"/>
              <a:gd name="connsiteX133" fmla="*/ 5039213 w 5529990"/>
              <a:gd name="connsiteY133" fmla="*/ 2146539 h 5456343"/>
              <a:gd name="connsiteX134" fmla="*/ 5030489 w 5529990"/>
              <a:gd name="connsiteY134" fmla="*/ 2163045 h 5456343"/>
              <a:gd name="connsiteX135" fmla="*/ 5028179 w 5529990"/>
              <a:gd name="connsiteY135" fmla="*/ 2165369 h 5456343"/>
              <a:gd name="connsiteX136" fmla="*/ 5046078 w 5529990"/>
              <a:gd name="connsiteY136" fmla="*/ 2171076 h 5456343"/>
              <a:gd name="connsiteX137" fmla="*/ 5093139 w 5529990"/>
              <a:gd name="connsiteY137" fmla="*/ 2191692 h 5456343"/>
              <a:gd name="connsiteX138" fmla="*/ 5123662 w 5529990"/>
              <a:gd name="connsiteY138" fmla="*/ 2215086 h 5456343"/>
              <a:gd name="connsiteX139" fmla="*/ 5128611 w 5529990"/>
              <a:gd name="connsiteY139" fmla="*/ 2223892 h 5456343"/>
              <a:gd name="connsiteX140" fmla="*/ 5228422 w 5529990"/>
              <a:gd name="connsiteY140" fmla="*/ 2370550 h 5456343"/>
              <a:gd name="connsiteX141" fmla="*/ 5228697 w 5529990"/>
              <a:gd name="connsiteY141" fmla="*/ 2376188 h 5456343"/>
              <a:gd name="connsiteX142" fmla="*/ 5262652 w 5529990"/>
              <a:gd name="connsiteY142" fmla="*/ 2446897 h 5456343"/>
              <a:gd name="connsiteX143" fmla="*/ 5299355 w 5529990"/>
              <a:gd name="connsiteY143" fmla="*/ 2527647 h 5456343"/>
              <a:gd name="connsiteX144" fmla="*/ 5348719 w 5529990"/>
              <a:gd name="connsiteY144" fmla="*/ 2543349 h 5456343"/>
              <a:gd name="connsiteX145" fmla="*/ 5393408 w 5529990"/>
              <a:gd name="connsiteY145" fmla="*/ 2555885 h 5456343"/>
              <a:gd name="connsiteX146" fmla="*/ 5407160 w 5529990"/>
              <a:gd name="connsiteY146" fmla="*/ 2559743 h 5456343"/>
              <a:gd name="connsiteX147" fmla="*/ 5472613 w 5529990"/>
              <a:gd name="connsiteY147" fmla="*/ 2557709 h 5456343"/>
              <a:gd name="connsiteX148" fmla="*/ 5485949 w 5529990"/>
              <a:gd name="connsiteY148" fmla="*/ 2576283 h 5456343"/>
              <a:gd name="connsiteX149" fmla="*/ 5476734 w 5529990"/>
              <a:gd name="connsiteY149" fmla="*/ 2595946 h 5456343"/>
              <a:gd name="connsiteX150" fmla="*/ 5490484 w 5529990"/>
              <a:gd name="connsiteY150" fmla="*/ 2599804 h 5456343"/>
              <a:gd name="connsiteX151" fmla="*/ 5519497 w 5529990"/>
              <a:gd name="connsiteY151" fmla="*/ 2615358 h 5456343"/>
              <a:gd name="connsiteX152" fmla="*/ 5529803 w 5529990"/>
              <a:gd name="connsiteY152" fmla="*/ 2664600 h 5456343"/>
              <a:gd name="connsiteX153" fmla="*/ 5499679 w 5529990"/>
              <a:gd name="connsiteY153" fmla="*/ 2719188 h 5456343"/>
              <a:gd name="connsiteX154" fmla="*/ 5457599 w 5529990"/>
              <a:gd name="connsiteY154" fmla="*/ 2737049 h 5456343"/>
              <a:gd name="connsiteX155" fmla="*/ 5390773 w 5529990"/>
              <a:gd name="connsiteY155" fmla="*/ 2710887 h 5456343"/>
              <a:gd name="connsiteX156" fmla="*/ 5381838 w 5529990"/>
              <a:gd name="connsiteY156" fmla="*/ 2689840 h 5456343"/>
              <a:gd name="connsiteX157" fmla="*/ 5381571 w 5529990"/>
              <a:gd name="connsiteY157" fmla="*/ 2637851 h 5456343"/>
              <a:gd name="connsiteX158" fmla="*/ 5289992 w 5529990"/>
              <a:gd name="connsiteY158" fmla="*/ 2614017 h 5456343"/>
              <a:gd name="connsiteX159" fmla="*/ 5259180 w 5529990"/>
              <a:gd name="connsiteY159" fmla="*/ 2677681 h 5456343"/>
              <a:gd name="connsiteX160" fmla="*/ 5222176 w 5529990"/>
              <a:gd name="connsiteY160" fmla="*/ 2776691 h 5456343"/>
              <a:gd name="connsiteX161" fmla="*/ 5205122 w 5529990"/>
              <a:gd name="connsiteY161" fmla="*/ 2797863 h 5456343"/>
              <a:gd name="connsiteX162" fmla="*/ 5159054 w 5529990"/>
              <a:gd name="connsiteY162" fmla="*/ 2803482 h 5456343"/>
              <a:gd name="connsiteX163" fmla="*/ 5134992 w 5529990"/>
              <a:gd name="connsiteY163" fmla="*/ 2796732 h 5456343"/>
              <a:gd name="connsiteX164" fmla="*/ 5042589 w 5529990"/>
              <a:gd name="connsiteY164" fmla="*/ 2755979 h 5456343"/>
              <a:gd name="connsiteX165" fmla="*/ 5027187 w 5529990"/>
              <a:gd name="connsiteY165" fmla="*/ 2764637 h 5456343"/>
              <a:gd name="connsiteX166" fmla="*/ 5017692 w 5529990"/>
              <a:gd name="connsiteY166" fmla="*/ 2825011 h 5456343"/>
              <a:gd name="connsiteX167" fmla="*/ 4929276 w 5529990"/>
              <a:gd name="connsiteY167" fmla="*/ 2796501 h 5456343"/>
              <a:gd name="connsiteX168" fmla="*/ 4898064 w 5529990"/>
              <a:gd name="connsiteY168" fmla="*/ 2782184 h 5456343"/>
              <a:gd name="connsiteX169" fmla="*/ 4888987 w 5529990"/>
              <a:gd name="connsiteY169" fmla="*/ 2781492 h 5456343"/>
              <a:gd name="connsiteX170" fmla="*/ 4828476 w 5529990"/>
              <a:gd name="connsiteY170" fmla="*/ 2838679 h 5456343"/>
              <a:gd name="connsiteX171" fmla="*/ 4792012 w 5529990"/>
              <a:gd name="connsiteY171" fmla="*/ 2995316 h 5456343"/>
              <a:gd name="connsiteX172" fmla="*/ 4799984 w 5529990"/>
              <a:gd name="connsiteY172" fmla="*/ 3019801 h 5456343"/>
              <a:gd name="connsiteX173" fmla="*/ 4837243 w 5529990"/>
              <a:gd name="connsiteY173" fmla="*/ 3065480 h 5456343"/>
              <a:gd name="connsiteX174" fmla="*/ 4841777 w 5529990"/>
              <a:gd name="connsiteY174" fmla="*/ 3089001 h 5456343"/>
              <a:gd name="connsiteX175" fmla="*/ 4860050 w 5529990"/>
              <a:gd name="connsiteY175" fmla="*/ 3209077 h 5456343"/>
              <a:gd name="connsiteX176" fmla="*/ 4861834 w 5529990"/>
              <a:gd name="connsiteY176" fmla="*/ 3222557 h 5456343"/>
              <a:gd name="connsiteX177" fmla="*/ 4816322 w 5529990"/>
              <a:gd name="connsiteY177" fmla="*/ 3193104 h 5456343"/>
              <a:gd name="connsiteX178" fmla="*/ 4699177 w 5529990"/>
              <a:gd name="connsiteY178" fmla="*/ 3108328 h 5456343"/>
              <a:gd name="connsiteX179" fmla="*/ 4644723 w 5529990"/>
              <a:gd name="connsiteY179" fmla="*/ 3104179 h 5456343"/>
              <a:gd name="connsiteX180" fmla="*/ 4540752 w 5529990"/>
              <a:gd name="connsiteY180" fmla="*/ 3197380 h 5456343"/>
              <a:gd name="connsiteX181" fmla="*/ 4544184 w 5529990"/>
              <a:gd name="connsiteY181" fmla="*/ 3244695 h 5456343"/>
              <a:gd name="connsiteX182" fmla="*/ 4596283 w 5529990"/>
              <a:gd name="connsiteY182" fmla="*/ 3363136 h 5456343"/>
              <a:gd name="connsiteX183" fmla="*/ 4610716 w 5529990"/>
              <a:gd name="connsiteY183" fmla="*/ 3404267 h 5456343"/>
              <a:gd name="connsiteX184" fmla="*/ 4739666 w 5529990"/>
              <a:gd name="connsiteY184" fmla="*/ 3638823 h 5456343"/>
              <a:gd name="connsiteX185" fmla="*/ 4782837 w 5529990"/>
              <a:gd name="connsiteY185" fmla="*/ 3689868 h 5456343"/>
              <a:gd name="connsiteX186" fmla="*/ 4815006 w 5529990"/>
              <a:gd name="connsiteY186" fmla="*/ 3747099 h 5456343"/>
              <a:gd name="connsiteX187" fmla="*/ 4829032 w 5529990"/>
              <a:gd name="connsiteY187" fmla="*/ 3756594 h 5456343"/>
              <a:gd name="connsiteX188" fmla="*/ 4837004 w 5529990"/>
              <a:gd name="connsiteY188" fmla="*/ 3781080 h 5456343"/>
              <a:gd name="connsiteX189" fmla="*/ 4809775 w 5529990"/>
              <a:gd name="connsiteY189" fmla="*/ 3779005 h 5456343"/>
              <a:gd name="connsiteX190" fmla="*/ 4786128 w 5529990"/>
              <a:gd name="connsiteY190" fmla="*/ 3757537 h 5456343"/>
              <a:gd name="connsiteX191" fmla="*/ 4725360 w 5529990"/>
              <a:gd name="connsiteY191" fmla="*/ 3670038 h 5456343"/>
              <a:gd name="connsiteX192" fmla="*/ 4594209 w 5529990"/>
              <a:gd name="connsiteY192" fmla="*/ 3436718 h 5456343"/>
              <a:gd name="connsiteX193" fmla="*/ 4558738 w 5529990"/>
              <a:gd name="connsiteY193" fmla="*/ 3404519 h 5456343"/>
              <a:gd name="connsiteX194" fmla="*/ 4480507 w 5529990"/>
              <a:gd name="connsiteY194" fmla="*/ 3306558 h 5456343"/>
              <a:gd name="connsiteX195" fmla="*/ 4381231 w 5529990"/>
              <a:gd name="connsiteY195" fmla="*/ 3263877 h 5456343"/>
              <a:gd name="connsiteX196" fmla="*/ 4271213 w 5529990"/>
              <a:gd name="connsiteY196" fmla="*/ 3325719 h 5456343"/>
              <a:gd name="connsiteX197" fmla="*/ 4243839 w 5529990"/>
              <a:gd name="connsiteY197" fmla="*/ 3390348 h 5456343"/>
              <a:gd name="connsiteX198" fmla="*/ 4245828 w 5529990"/>
              <a:gd name="connsiteY198" fmla="*/ 3431231 h 5456343"/>
              <a:gd name="connsiteX199" fmla="*/ 4249487 w 5529990"/>
              <a:gd name="connsiteY199" fmla="*/ 3458234 h 5456343"/>
              <a:gd name="connsiteX200" fmla="*/ 4268459 w 5529990"/>
              <a:gd name="connsiteY200" fmla="*/ 3485180 h 5456343"/>
              <a:gd name="connsiteX201" fmla="*/ 4301641 w 5529990"/>
              <a:gd name="connsiteY201" fmla="*/ 3549872 h 5456343"/>
              <a:gd name="connsiteX202" fmla="*/ 4327699 w 5529990"/>
              <a:gd name="connsiteY202" fmla="*/ 3562381 h 5456343"/>
              <a:gd name="connsiteX203" fmla="*/ 4443283 w 5529990"/>
              <a:gd name="connsiteY203" fmla="*/ 3566565 h 5456343"/>
              <a:gd name="connsiteX204" fmla="*/ 4362331 w 5529990"/>
              <a:gd name="connsiteY204" fmla="*/ 3599313 h 5456343"/>
              <a:gd name="connsiteX205" fmla="*/ 4297508 w 5529990"/>
              <a:gd name="connsiteY205" fmla="*/ 3698587 h 5456343"/>
              <a:gd name="connsiteX206" fmla="*/ 4338953 w 5529990"/>
              <a:gd name="connsiteY206" fmla="*/ 3730240 h 5456343"/>
              <a:gd name="connsiteX207" fmla="*/ 4372142 w 5529990"/>
              <a:gd name="connsiteY207" fmla="*/ 3730140 h 5456343"/>
              <a:gd name="connsiteX208" fmla="*/ 4336403 w 5529990"/>
              <a:gd name="connsiteY208" fmla="*/ 3760011 h 5456343"/>
              <a:gd name="connsiteX209" fmla="*/ 4322595 w 5529990"/>
              <a:gd name="connsiteY209" fmla="*/ 3786514 h 5456343"/>
              <a:gd name="connsiteX210" fmla="*/ 4384277 w 5529990"/>
              <a:gd name="connsiteY210" fmla="*/ 3871702 h 5456343"/>
              <a:gd name="connsiteX211" fmla="*/ 4434476 w 5529990"/>
              <a:gd name="connsiteY211" fmla="*/ 3911831 h 5456343"/>
              <a:gd name="connsiteX212" fmla="*/ 4475830 w 5529990"/>
              <a:gd name="connsiteY212" fmla="*/ 3992604 h 5456343"/>
              <a:gd name="connsiteX213" fmla="*/ 4523073 w 5529990"/>
              <a:gd name="connsiteY213" fmla="*/ 4036659 h 5456343"/>
              <a:gd name="connsiteX214" fmla="*/ 4538122 w 5529990"/>
              <a:gd name="connsiteY214" fmla="*/ 4034264 h 5456343"/>
              <a:gd name="connsiteX215" fmla="*/ 4501368 w 5529990"/>
              <a:gd name="connsiteY215" fmla="*/ 4081817 h 5456343"/>
              <a:gd name="connsiteX216" fmla="*/ 4473367 w 5529990"/>
              <a:gd name="connsiteY216" fmla="*/ 4137847 h 5456343"/>
              <a:gd name="connsiteX217" fmla="*/ 4497959 w 5529990"/>
              <a:gd name="connsiteY217" fmla="*/ 4166752 h 5456343"/>
              <a:gd name="connsiteX218" fmla="*/ 4539336 w 5529990"/>
              <a:gd name="connsiteY218" fmla="*/ 4194097 h 5456343"/>
              <a:gd name="connsiteX219" fmla="*/ 4517947 w 5529990"/>
              <a:gd name="connsiteY219" fmla="*/ 4231925 h 5456343"/>
              <a:gd name="connsiteX220" fmla="*/ 4508696 w 5529990"/>
              <a:gd name="connsiteY220" fmla="*/ 4246722 h 5456343"/>
              <a:gd name="connsiteX221" fmla="*/ 4532701 w 5529990"/>
              <a:gd name="connsiteY221" fmla="*/ 4265727 h 5456343"/>
              <a:gd name="connsiteX222" fmla="*/ 4569138 w 5529990"/>
              <a:gd name="connsiteY222" fmla="*/ 4307801 h 5456343"/>
              <a:gd name="connsiteX223" fmla="*/ 4581251 w 5529990"/>
              <a:gd name="connsiteY223" fmla="*/ 4356204 h 5456343"/>
              <a:gd name="connsiteX224" fmla="*/ 4581479 w 5529990"/>
              <a:gd name="connsiteY224" fmla="*/ 4355344 h 5456343"/>
              <a:gd name="connsiteX225" fmla="*/ 4587279 w 5529990"/>
              <a:gd name="connsiteY225" fmla="*/ 4351160 h 5456343"/>
              <a:gd name="connsiteX226" fmla="*/ 4644474 w 5529990"/>
              <a:gd name="connsiteY226" fmla="*/ 4303653 h 5456343"/>
              <a:gd name="connsiteX227" fmla="*/ 4741598 w 5529990"/>
              <a:gd name="connsiteY227" fmla="*/ 4274501 h 5456343"/>
              <a:gd name="connsiteX228" fmla="*/ 4775052 w 5529990"/>
              <a:gd name="connsiteY228" fmla="*/ 4260465 h 5456343"/>
              <a:gd name="connsiteX229" fmla="*/ 4822535 w 5529990"/>
              <a:gd name="connsiteY229" fmla="*/ 4263704 h 5456343"/>
              <a:gd name="connsiteX230" fmla="*/ 4862464 w 5529990"/>
              <a:gd name="connsiteY230" fmla="*/ 4268023 h 5456343"/>
              <a:gd name="connsiteX231" fmla="*/ 4878651 w 5529990"/>
              <a:gd name="connsiteY231" fmla="*/ 4266943 h 5456343"/>
              <a:gd name="connsiteX232" fmla="*/ 4952034 w 5529990"/>
              <a:gd name="connsiteY232" fmla="*/ 4330645 h 5456343"/>
              <a:gd name="connsiteX233" fmla="*/ 4987646 w 5529990"/>
              <a:gd name="connsiteY233" fmla="*/ 4391109 h 5456343"/>
              <a:gd name="connsiteX234" fmla="*/ 5046999 w 5529990"/>
              <a:gd name="connsiteY234" fmla="*/ 4436456 h 5456343"/>
              <a:gd name="connsiteX235" fmla="*/ 5058870 w 5529990"/>
              <a:gd name="connsiteY235" fmla="*/ 4429978 h 5456343"/>
              <a:gd name="connsiteX236" fmla="*/ 5134411 w 5529990"/>
              <a:gd name="connsiteY236" fmla="*/ 4366276 h 5456343"/>
              <a:gd name="connsiteX237" fmla="*/ 5151678 w 5529990"/>
              <a:gd name="connsiteY237" fmla="*/ 4357638 h 5456343"/>
              <a:gd name="connsiteX238" fmla="*/ 5205636 w 5529990"/>
              <a:gd name="connsiteY238" fmla="*/ 4349000 h 5456343"/>
              <a:gd name="connsiteX239" fmla="*/ 5268226 w 5529990"/>
              <a:gd name="connsiteY239" fmla="*/ 4333885 h 5456343"/>
              <a:gd name="connsiteX240" fmla="*/ 5294126 w 5529990"/>
              <a:gd name="connsiteY240" fmla="*/ 4334964 h 5456343"/>
              <a:gd name="connsiteX241" fmla="*/ 5433338 w 5529990"/>
              <a:gd name="connsiteY241" fmla="*/ 4392189 h 5456343"/>
              <a:gd name="connsiteX242" fmla="*/ 5441971 w 5529990"/>
              <a:gd name="connsiteY242" fmla="*/ 4402986 h 5456343"/>
              <a:gd name="connsiteX243" fmla="*/ 5473266 w 5529990"/>
              <a:gd name="connsiteY243" fmla="*/ 4468847 h 5456343"/>
              <a:gd name="connsiteX244" fmla="*/ 5481899 w 5529990"/>
              <a:gd name="connsiteY244" fmla="*/ 4496919 h 5456343"/>
              <a:gd name="connsiteX245" fmla="*/ 5492691 w 5529990"/>
              <a:gd name="connsiteY245" fmla="*/ 4544426 h 5456343"/>
              <a:gd name="connsiteX246" fmla="*/ 5523987 w 5529990"/>
              <a:gd name="connsiteY246" fmla="*/ 4580056 h 5456343"/>
              <a:gd name="connsiteX247" fmla="*/ 5529787 w 5529990"/>
              <a:gd name="connsiteY247" fmla="*/ 4596252 h 5456343"/>
              <a:gd name="connsiteX248" fmla="*/ 5515353 w 5529990"/>
              <a:gd name="connsiteY248" fmla="*/ 4605969 h 5456343"/>
              <a:gd name="connsiteX249" fmla="*/ 5502403 w 5529990"/>
              <a:gd name="connsiteY249" fmla="*/ 4609208 h 5456343"/>
              <a:gd name="connsiteX250" fmla="*/ 5487295 w 5529990"/>
              <a:gd name="connsiteY250" fmla="*/ 4618925 h 5456343"/>
              <a:gd name="connsiteX251" fmla="*/ 5497008 w 5529990"/>
              <a:gd name="connsiteY251" fmla="*/ 4632961 h 5456343"/>
              <a:gd name="connsiteX252" fmla="*/ 5491612 w 5529990"/>
              <a:gd name="connsiteY252" fmla="*/ 4665352 h 5456343"/>
              <a:gd name="connsiteX253" fmla="*/ 5477583 w 5529990"/>
              <a:gd name="connsiteY253" fmla="*/ 4671830 h 5456343"/>
              <a:gd name="connsiteX254" fmla="*/ 5470029 w 5529990"/>
              <a:gd name="connsiteY254" fmla="*/ 4691265 h 5456343"/>
              <a:gd name="connsiteX255" fmla="*/ 5488374 w 5529990"/>
              <a:gd name="connsiteY255" fmla="*/ 4698823 h 5456343"/>
              <a:gd name="connsiteX256" fmla="*/ 5504696 w 5529990"/>
              <a:gd name="connsiteY256" fmla="*/ 4697004 h 5456343"/>
              <a:gd name="connsiteX257" fmla="*/ 5420769 w 5529990"/>
              <a:gd name="connsiteY257" fmla="*/ 4781392 h 5456343"/>
              <a:gd name="connsiteX258" fmla="*/ 5413913 w 5529990"/>
              <a:gd name="connsiteY258" fmla="*/ 4776562 h 5456343"/>
              <a:gd name="connsiteX259" fmla="*/ 5393409 w 5529990"/>
              <a:gd name="connsiteY259" fmla="*/ 4786279 h 5456343"/>
              <a:gd name="connsiteX260" fmla="*/ 5384776 w 5529990"/>
              <a:gd name="connsiteY260" fmla="*/ 4805713 h 5456343"/>
              <a:gd name="connsiteX261" fmla="*/ 5358876 w 5529990"/>
              <a:gd name="connsiteY261" fmla="*/ 4818670 h 5456343"/>
              <a:gd name="connsiteX262" fmla="*/ 5275781 w 5529990"/>
              <a:gd name="connsiteY262" fmla="*/ 4860778 h 5456343"/>
              <a:gd name="connsiteX263" fmla="*/ 5263910 w 5529990"/>
              <a:gd name="connsiteY263" fmla="*/ 4875894 h 5456343"/>
              <a:gd name="connsiteX264" fmla="*/ 5250960 w 5529990"/>
              <a:gd name="connsiteY264" fmla="*/ 4855379 h 5456343"/>
              <a:gd name="connsiteX265" fmla="*/ 5250960 w 5529990"/>
              <a:gd name="connsiteY265" fmla="*/ 4852140 h 5456343"/>
              <a:gd name="connsiteX266" fmla="*/ 5214269 w 5529990"/>
              <a:gd name="connsiteY266" fmla="*/ 4831626 h 5456343"/>
              <a:gd name="connsiteX267" fmla="*/ 5163548 w 5529990"/>
              <a:gd name="connsiteY267" fmla="*/ 4829467 h 5456343"/>
              <a:gd name="connsiteX268" fmla="*/ 5092324 w 5529990"/>
              <a:gd name="connsiteY268" fmla="*/ 4811112 h 5456343"/>
              <a:gd name="connsiteX269" fmla="*/ 5072899 w 5529990"/>
              <a:gd name="connsiteY269" fmla="*/ 4794916 h 5456343"/>
              <a:gd name="connsiteX270" fmla="*/ 5016783 w 5529990"/>
              <a:gd name="connsiteY270" fmla="*/ 4750649 h 5456343"/>
              <a:gd name="connsiteX271" fmla="*/ 5007071 w 5529990"/>
              <a:gd name="connsiteY271" fmla="*/ 4724736 h 5456343"/>
              <a:gd name="connsiteX272" fmla="*/ 4975775 w 5529990"/>
              <a:gd name="connsiteY272" fmla="*/ 4617845 h 5456343"/>
              <a:gd name="connsiteX273" fmla="*/ 4952034 w 5529990"/>
              <a:gd name="connsiteY273" fmla="*/ 4617845 h 5456343"/>
              <a:gd name="connsiteX274" fmla="*/ 4948796 w 5529990"/>
              <a:gd name="connsiteY274" fmla="*/ 4645918 h 5456343"/>
              <a:gd name="connsiteX275" fmla="*/ 4961746 w 5529990"/>
              <a:gd name="connsiteY275" fmla="*/ 4665352 h 5456343"/>
              <a:gd name="connsiteX276" fmla="*/ 4963904 w 5529990"/>
              <a:gd name="connsiteY276" fmla="*/ 4683708 h 5456343"/>
              <a:gd name="connsiteX277" fmla="*/ 4944480 w 5529990"/>
              <a:gd name="connsiteY277" fmla="*/ 4680468 h 5456343"/>
              <a:gd name="connsiteX278" fmla="*/ 4930451 w 5529990"/>
              <a:gd name="connsiteY278" fmla="*/ 4665352 h 5456343"/>
              <a:gd name="connsiteX279" fmla="*/ 4896997 w 5529990"/>
              <a:gd name="connsiteY279" fmla="*/ 4659954 h 5456343"/>
              <a:gd name="connsiteX280" fmla="*/ 4903472 w 5529990"/>
              <a:gd name="connsiteY280" fmla="*/ 4689106 h 5456343"/>
              <a:gd name="connsiteX281" fmla="*/ 4921817 w 5529990"/>
              <a:gd name="connsiteY281" fmla="*/ 4711780 h 5456343"/>
              <a:gd name="connsiteX282" fmla="*/ 4907788 w 5529990"/>
              <a:gd name="connsiteY282" fmla="*/ 4733374 h 5456343"/>
              <a:gd name="connsiteX283" fmla="*/ 4846276 w 5529990"/>
              <a:gd name="connsiteY283" fmla="*/ 4709620 h 5456343"/>
              <a:gd name="connsiteX284" fmla="*/ 4786923 w 5529990"/>
              <a:gd name="connsiteY284" fmla="*/ 4709620 h 5456343"/>
              <a:gd name="connsiteX285" fmla="*/ 4763181 w 5529990"/>
              <a:gd name="connsiteY285" fmla="*/ 4731214 h 5456343"/>
              <a:gd name="connsiteX286" fmla="*/ 4751311 w 5529990"/>
              <a:gd name="connsiteY286" fmla="*/ 4737692 h 5456343"/>
              <a:gd name="connsiteX287" fmla="*/ 4744836 w 5529990"/>
              <a:gd name="connsiteY287" fmla="*/ 4725816 h 5456343"/>
              <a:gd name="connsiteX288" fmla="*/ 4723252 w 5529990"/>
              <a:gd name="connsiteY288" fmla="*/ 4703142 h 5456343"/>
              <a:gd name="connsiteX289" fmla="*/ 4674690 w 5529990"/>
              <a:gd name="connsiteY289" fmla="*/ 4675069 h 5456343"/>
              <a:gd name="connsiteX290" fmla="*/ 4648790 w 5529990"/>
              <a:gd name="connsiteY290" fmla="*/ 4673990 h 5456343"/>
              <a:gd name="connsiteX291" fmla="*/ 4631524 w 5529990"/>
              <a:gd name="connsiteY291" fmla="*/ 4682628 h 5456343"/>
              <a:gd name="connsiteX292" fmla="*/ 4619653 w 5529990"/>
              <a:gd name="connsiteY292" fmla="*/ 4664272 h 5456343"/>
              <a:gd name="connsiteX293" fmla="*/ 4617495 w 5529990"/>
              <a:gd name="connsiteY293" fmla="*/ 4649157 h 5456343"/>
              <a:gd name="connsiteX294" fmla="*/ 4590179 w 5529990"/>
              <a:gd name="connsiteY294" fmla="*/ 4622282 h 5456343"/>
              <a:gd name="connsiteX295" fmla="*/ 4586817 w 5529990"/>
              <a:gd name="connsiteY295" fmla="*/ 4623974 h 5456343"/>
              <a:gd name="connsiteX296" fmla="*/ 4584630 w 5529990"/>
              <a:gd name="connsiteY296" fmla="*/ 4635875 h 5456343"/>
              <a:gd name="connsiteX297" fmla="*/ 4531541 w 5529990"/>
              <a:gd name="connsiteY297" fmla="*/ 4686274 h 5456343"/>
              <a:gd name="connsiteX298" fmla="*/ 4492463 w 5529990"/>
              <a:gd name="connsiteY298" fmla="*/ 4723091 h 5456343"/>
              <a:gd name="connsiteX299" fmla="*/ 4462206 w 5529990"/>
              <a:gd name="connsiteY299" fmla="*/ 4772694 h 5456343"/>
              <a:gd name="connsiteX300" fmla="*/ 4452007 w 5529990"/>
              <a:gd name="connsiteY300" fmla="*/ 4809481 h 5456343"/>
              <a:gd name="connsiteX301" fmla="*/ 4457827 w 5529990"/>
              <a:gd name="connsiteY301" fmla="*/ 4850751 h 5456343"/>
              <a:gd name="connsiteX302" fmla="*/ 4471025 w 5529990"/>
              <a:gd name="connsiteY302" fmla="*/ 4867775 h 5456343"/>
              <a:gd name="connsiteX303" fmla="*/ 4503311 w 5529990"/>
              <a:gd name="connsiteY303" fmla="*/ 4865104 h 5456343"/>
              <a:gd name="connsiteX304" fmla="*/ 4538327 w 5529990"/>
              <a:gd name="connsiteY304" fmla="*/ 4899014 h 5456343"/>
              <a:gd name="connsiteX305" fmla="*/ 4528782 w 5529990"/>
              <a:gd name="connsiteY305" fmla="*/ 4950009 h 5456343"/>
              <a:gd name="connsiteX306" fmla="*/ 4490855 w 5529990"/>
              <a:gd name="connsiteY306" fmla="*/ 4977760 h 5456343"/>
              <a:gd name="connsiteX307" fmla="*/ 4473436 w 5529990"/>
              <a:gd name="connsiteY307" fmla="*/ 4993981 h 5456343"/>
              <a:gd name="connsiteX308" fmla="*/ 4496877 w 5529990"/>
              <a:gd name="connsiteY308" fmla="*/ 5031953 h 5456343"/>
              <a:gd name="connsiteX309" fmla="*/ 4502473 w 5529990"/>
              <a:gd name="connsiteY309" fmla="*/ 5031433 h 5456343"/>
              <a:gd name="connsiteX310" fmla="*/ 4538301 w 5529990"/>
              <a:gd name="connsiteY310" fmla="*/ 5034738 h 5456343"/>
              <a:gd name="connsiteX311" fmla="*/ 4541751 w 5529990"/>
              <a:gd name="connsiteY311" fmla="*/ 5089834 h 5456343"/>
              <a:gd name="connsiteX312" fmla="*/ 4511743 w 5529990"/>
              <a:gd name="connsiteY312" fmla="*/ 5127799 h 5456343"/>
              <a:gd name="connsiteX313" fmla="*/ 4485820 w 5529990"/>
              <a:gd name="connsiteY313" fmla="*/ 5123905 h 5456343"/>
              <a:gd name="connsiteX314" fmla="*/ 4473208 w 5529990"/>
              <a:gd name="connsiteY314" fmla="*/ 5116782 h 5456343"/>
              <a:gd name="connsiteX315" fmla="*/ 4466980 w 5529990"/>
              <a:gd name="connsiteY315" fmla="*/ 5131962 h 5456343"/>
              <a:gd name="connsiteX316" fmla="*/ 4474335 w 5529990"/>
              <a:gd name="connsiteY316" fmla="*/ 5161144 h 5456343"/>
              <a:gd name="connsiteX317" fmla="*/ 4432436 w 5529990"/>
              <a:gd name="connsiteY317" fmla="*/ 5210502 h 5456343"/>
              <a:gd name="connsiteX318" fmla="*/ 4422080 w 5529990"/>
              <a:gd name="connsiteY318" fmla="*/ 5209806 h 5456343"/>
              <a:gd name="connsiteX319" fmla="*/ 4363328 w 5529990"/>
              <a:gd name="connsiteY319" fmla="*/ 5256417 h 5456343"/>
              <a:gd name="connsiteX320" fmla="*/ 4335441 w 5529990"/>
              <a:gd name="connsiteY320" fmla="*/ 5292194 h 5456343"/>
              <a:gd name="connsiteX321" fmla="*/ 4315316 w 5529990"/>
              <a:gd name="connsiteY321" fmla="*/ 5300702 h 5456343"/>
              <a:gd name="connsiteX322" fmla="*/ 4258458 w 5529990"/>
              <a:gd name="connsiteY322" fmla="*/ 5385631 h 5456343"/>
              <a:gd name="connsiteX323" fmla="*/ 4253222 w 5529990"/>
              <a:gd name="connsiteY323" fmla="*/ 5436557 h 5456343"/>
              <a:gd name="connsiteX324" fmla="*/ 4229825 w 5529990"/>
              <a:gd name="connsiteY324" fmla="*/ 5456320 h 5456343"/>
              <a:gd name="connsiteX325" fmla="*/ 4214822 w 5529990"/>
              <a:gd name="connsiteY325" fmla="*/ 5434155 h 5456343"/>
              <a:gd name="connsiteX326" fmla="*/ 4150160 w 5529990"/>
              <a:gd name="connsiteY326" fmla="*/ 5406321 h 5456343"/>
              <a:gd name="connsiteX327" fmla="*/ 4094026 w 5529990"/>
              <a:gd name="connsiteY327" fmla="*/ 5427469 h 5456343"/>
              <a:gd name="connsiteX328" fmla="*/ 4039855 w 5529990"/>
              <a:gd name="connsiteY328" fmla="*/ 5408946 h 5456343"/>
              <a:gd name="connsiteX329" fmla="*/ 3927948 w 5529990"/>
              <a:gd name="connsiteY329" fmla="*/ 5419353 h 5456343"/>
              <a:gd name="connsiteX330" fmla="*/ 3912268 w 5529990"/>
              <a:gd name="connsiteY330" fmla="*/ 5436408 h 5456343"/>
              <a:gd name="connsiteX331" fmla="*/ 3845463 w 5529990"/>
              <a:gd name="connsiteY331" fmla="*/ 5381894 h 5456343"/>
              <a:gd name="connsiteX332" fmla="*/ 3765729 w 5529990"/>
              <a:gd name="connsiteY332" fmla="*/ 5409883 h 5456343"/>
              <a:gd name="connsiteX333" fmla="*/ 3765910 w 5529990"/>
              <a:gd name="connsiteY333" fmla="*/ 5393938 h 5456343"/>
              <a:gd name="connsiteX334" fmla="*/ 3718780 w 5529990"/>
              <a:gd name="connsiteY334" fmla="*/ 5329630 h 5456343"/>
              <a:gd name="connsiteX335" fmla="*/ 3675462 w 5529990"/>
              <a:gd name="connsiteY335" fmla="*/ 5288528 h 5456343"/>
              <a:gd name="connsiteX336" fmla="*/ 3619984 w 5529990"/>
              <a:gd name="connsiteY336" fmla="*/ 5241589 h 5456343"/>
              <a:gd name="connsiteX337" fmla="*/ 3608747 w 5529990"/>
              <a:gd name="connsiteY337" fmla="*/ 5267190 h 5456343"/>
              <a:gd name="connsiteX338" fmla="*/ 3596563 w 5529990"/>
              <a:gd name="connsiteY338" fmla="*/ 5314780 h 5456343"/>
              <a:gd name="connsiteX339" fmla="*/ 3574430 w 5529990"/>
              <a:gd name="connsiteY339" fmla="*/ 5305224 h 5456343"/>
              <a:gd name="connsiteX340" fmla="*/ 3499909 w 5529990"/>
              <a:gd name="connsiteY340" fmla="*/ 5253419 h 5456343"/>
              <a:gd name="connsiteX341" fmla="*/ 3315692 w 5529990"/>
              <a:gd name="connsiteY341" fmla="*/ 5243008 h 5456343"/>
              <a:gd name="connsiteX342" fmla="*/ 3221835 w 5529990"/>
              <a:gd name="connsiteY342" fmla="*/ 5222534 h 5456343"/>
              <a:gd name="connsiteX343" fmla="*/ 3181652 w 5529990"/>
              <a:gd name="connsiteY343" fmla="*/ 5243858 h 5456343"/>
              <a:gd name="connsiteX344" fmla="*/ 3144425 w 5529990"/>
              <a:gd name="connsiteY344" fmla="*/ 5261258 h 5456343"/>
              <a:gd name="connsiteX345" fmla="*/ 3142147 w 5529990"/>
              <a:gd name="connsiteY345" fmla="*/ 5225963 h 5456343"/>
              <a:gd name="connsiteX346" fmla="*/ 3132063 w 5529990"/>
              <a:gd name="connsiteY346" fmla="*/ 5160201 h 5456343"/>
              <a:gd name="connsiteX347" fmla="*/ 2992209 w 5529990"/>
              <a:gd name="connsiteY347" fmla="*/ 4872894 h 5456343"/>
              <a:gd name="connsiteX348" fmla="*/ 2922382 w 5529990"/>
              <a:gd name="connsiteY348" fmla="*/ 4817997 h 5456343"/>
              <a:gd name="connsiteX349" fmla="*/ 2852371 w 5529990"/>
              <a:gd name="connsiteY349" fmla="*/ 4861342 h 5456343"/>
              <a:gd name="connsiteX350" fmla="*/ 2799055 w 5529990"/>
              <a:gd name="connsiteY350" fmla="*/ 4952246 h 5456343"/>
              <a:gd name="connsiteX351" fmla="*/ 2750389 w 5529990"/>
              <a:gd name="connsiteY351" fmla="*/ 4982323 h 5456343"/>
              <a:gd name="connsiteX352" fmla="*/ 2759166 w 5529990"/>
              <a:gd name="connsiteY352" fmla="*/ 4937373 h 5456343"/>
              <a:gd name="connsiteX353" fmla="*/ 2758717 w 5529990"/>
              <a:gd name="connsiteY353" fmla="*/ 4853791 h 5456343"/>
              <a:gd name="connsiteX354" fmla="*/ 2773428 w 5529990"/>
              <a:gd name="connsiteY354" fmla="*/ 4829858 h 5456343"/>
              <a:gd name="connsiteX355" fmla="*/ 2813611 w 5529990"/>
              <a:gd name="connsiteY355" fmla="*/ 4808534 h 5456343"/>
              <a:gd name="connsiteX356" fmla="*/ 2820922 w 5529990"/>
              <a:gd name="connsiteY356" fmla="*/ 4779980 h 5456343"/>
              <a:gd name="connsiteX357" fmla="*/ 2796668 w 5529990"/>
              <a:gd name="connsiteY357" fmla="*/ 4772612 h 5456343"/>
              <a:gd name="connsiteX358" fmla="*/ 2622107 w 5529990"/>
              <a:gd name="connsiteY358" fmla="*/ 4773249 h 5456343"/>
              <a:gd name="connsiteX359" fmla="*/ 2591932 w 5529990"/>
              <a:gd name="connsiteY359" fmla="*/ 4771776 h 5456343"/>
              <a:gd name="connsiteX360" fmla="*/ 2581363 w 5529990"/>
              <a:gd name="connsiteY360" fmla="*/ 4784316 h 5456343"/>
              <a:gd name="connsiteX361" fmla="*/ 2533973 w 5529990"/>
              <a:gd name="connsiteY361" fmla="*/ 4788867 h 5456343"/>
              <a:gd name="connsiteX362" fmla="*/ 2494641 w 5529990"/>
              <a:gd name="connsiteY362" fmla="*/ 4816770 h 5456343"/>
              <a:gd name="connsiteX363" fmla="*/ 2502607 w 5529990"/>
              <a:gd name="connsiteY363" fmla="*/ 4887605 h 5456343"/>
              <a:gd name="connsiteX364" fmla="*/ 2530777 w 5529990"/>
              <a:gd name="connsiteY364" fmla="*/ 5025291 h 5456343"/>
              <a:gd name="connsiteX365" fmla="*/ 2526229 w 5529990"/>
              <a:gd name="connsiteY365" fmla="*/ 5094470 h 5456343"/>
              <a:gd name="connsiteX366" fmla="*/ 2476444 w 5529990"/>
              <a:gd name="connsiteY366" fmla="*/ 5139834 h 5456343"/>
              <a:gd name="connsiteX367" fmla="*/ 2456379 w 5529990"/>
              <a:gd name="connsiteY367" fmla="*/ 5052626 h 5456343"/>
              <a:gd name="connsiteX368" fmla="*/ 2428893 w 5529990"/>
              <a:gd name="connsiteY368" fmla="*/ 4952213 h 5456343"/>
              <a:gd name="connsiteX369" fmla="*/ 2404842 w 5529990"/>
              <a:gd name="connsiteY369" fmla="*/ 4852765 h 5456343"/>
              <a:gd name="connsiteX370" fmla="*/ 2313953 w 5529990"/>
              <a:gd name="connsiteY370" fmla="*/ 4819852 h 5456343"/>
              <a:gd name="connsiteX371" fmla="*/ 2305700 w 5529990"/>
              <a:gd name="connsiteY371" fmla="*/ 4836077 h 5456343"/>
              <a:gd name="connsiteX372" fmla="*/ 2307760 w 5529990"/>
              <a:gd name="connsiteY372" fmla="*/ 4855197 h 5456343"/>
              <a:gd name="connsiteX373" fmla="*/ 2273652 w 5529990"/>
              <a:gd name="connsiteY373" fmla="*/ 4897541 h 5456343"/>
              <a:gd name="connsiteX374" fmla="*/ 2229651 w 5529990"/>
              <a:gd name="connsiteY374" fmla="*/ 4875929 h 5456343"/>
              <a:gd name="connsiteX375" fmla="*/ 2219754 w 5529990"/>
              <a:gd name="connsiteY375" fmla="*/ 4858320 h 5456343"/>
              <a:gd name="connsiteX376" fmla="*/ 2105490 w 5529990"/>
              <a:gd name="connsiteY376" fmla="*/ 4809581 h 5456343"/>
              <a:gd name="connsiteX377" fmla="*/ 2075923 w 5529990"/>
              <a:gd name="connsiteY377" fmla="*/ 4829098 h 5456343"/>
              <a:gd name="connsiteX378" fmla="*/ 1995879 w 5529990"/>
              <a:gd name="connsiteY378" fmla="*/ 4903056 h 5456343"/>
              <a:gd name="connsiteX379" fmla="*/ 1971127 w 5529990"/>
              <a:gd name="connsiteY379" fmla="*/ 4905382 h 5456343"/>
              <a:gd name="connsiteX380" fmla="*/ 1929602 w 5529990"/>
              <a:gd name="connsiteY380" fmla="*/ 4888172 h 5456343"/>
              <a:gd name="connsiteX381" fmla="*/ 1900724 w 5529990"/>
              <a:gd name="connsiteY381" fmla="*/ 4898612 h 5456343"/>
              <a:gd name="connsiteX382" fmla="*/ 1896871 w 5529990"/>
              <a:gd name="connsiteY382" fmla="*/ 4912363 h 5456343"/>
              <a:gd name="connsiteX383" fmla="*/ 1877068 w 5529990"/>
              <a:gd name="connsiteY383" fmla="*/ 4923495 h 5456343"/>
              <a:gd name="connsiteX384" fmla="*/ 1870333 w 5529990"/>
              <a:gd name="connsiteY384" fmla="*/ 4901212 h 5456343"/>
              <a:gd name="connsiteX385" fmla="*/ 1885608 w 5529990"/>
              <a:gd name="connsiteY385" fmla="*/ 4820209 h 5456343"/>
              <a:gd name="connsiteX386" fmla="*/ 1867872 w 5529990"/>
              <a:gd name="connsiteY386" fmla="*/ 4804109 h 5456343"/>
              <a:gd name="connsiteX387" fmla="*/ 1837342 w 5529990"/>
              <a:gd name="connsiteY387" fmla="*/ 4827064 h 5456343"/>
              <a:gd name="connsiteX388" fmla="*/ 1799662 w 5529990"/>
              <a:gd name="connsiteY388" fmla="*/ 4842451 h 5456343"/>
              <a:gd name="connsiteX389" fmla="*/ 1758003 w 5529990"/>
              <a:gd name="connsiteY389" fmla="*/ 4799247 h 5456343"/>
              <a:gd name="connsiteX390" fmla="*/ 1769692 w 5529990"/>
              <a:gd name="connsiteY390" fmla="*/ 4783984 h 5456343"/>
              <a:gd name="connsiteX391" fmla="*/ 1743295 w 5529990"/>
              <a:gd name="connsiteY391" fmla="*/ 4752477 h 5456343"/>
              <a:gd name="connsiteX392" fmla="*/ 1616518 w 5529990"/>
              <a:gd name="connsiteY392" fmla="*/ 4702082 h 5456343"/>
              <a:gd name="connsiteX393" fmla="*/ 1541847 w 5529990"/>
              <a:gd name="connsiteY393" fmla="*/ 4723780 h 5456343"/>
              <a:gd name="connsiteX394" fmla="*/ 1482305 w 5529990"/>
              <a:gd name="connsiteY394" fmla="*/ 4731179 h 5456343"/>
              <a:gd name="connsiteX395" fmla="*/ 1473783 w 5529990"/>
              <a:gd name="connsiteY395" fmla="*/ 4695417 h 5456343"/>
              <a:gd name="connsiteX396" fmla="*/ 1468846 w 5529990"/>
              <a:gd name="connsiteY396" fmla="*/ 4593913 h 5456343"/>
              <a:gd name="connsiteX397" fmla="*/ 1363940 w 5529990"/>
              <a:gd name="connsiteY397" fmla="*/ 4505154 h 5456343"/>
              <a:gd name="connsiteX398" fmla="*/ 1341662 w 5529990"/>
              <a:gd name="connsiteY398" fmla="*/ 4511882 h 5456343"/>
              <a:gd name="connsiteX399" fmla="*/ 1289128 w 5529990"/>
              <a:gd name="connsiteY399" fmla="*/ 4547206 h 5456343"/>
              <a:gd name="connsiteX400" fmla="*/ 1221480 w 5529990"/>
              <a:gd name="connsiteY400" fmla="*/ 4504127 h 5456343"/>
              <a:gd name="connsiteX401" fmla="*/ 1220530 w 5529990"/>
              <a:gd name="connsiteY401" fmla="*/ 4414866 h 5456343"/>
              <a:gd name="connsiteX402" fmla="*/ 1239097 w 5529990"/>
              <a:gd name="connsiteY402" fmla="*/ 4401534 h 5456343"/>
              <a:gd name="connsiteX403" fmla="*/ 1251750 w 5529990"/>
              <a:gd name="connsiteY403" fmla="*/ 4382834 h 5456343"/>
              <a:gd name="connsiteX404" fmla="*/ 1254504 w 5529990"/>
              <a:gd name="connsiteY404" fmla="*/ 4346526 h 5456343"/>
              <a:gd name="connsiteX405" fmla="*/ 1230581 w 5529990"/>
              <a:gd name="connsiteY405" fmla="*/ 4319421 h 5456343"/>
              <a:gd name="connsiteX406" fmla="*/ 1186758 w 5529990"/>
              <a:gd name="connsiteY406" fmla="*/ 4272364 h 5456343"/>
              <a:gd name="connsiteX407" fmla="*/ 1175214 w 5529990"/>
              <a:gd name="connsiteY407" fmla="*/ 4264939 h 5456343"/>
              <a:gd name="connsiteX408" fmla="*/ 1161833 w 5529990"/>
              <a:gd name="connsiteY408" fmla="*/ 4266023 h 5456343"/>
              <a:gd name="connsiteX409" fmla="*/ 1140837 w 5529990"/>
              <a:gd name="connsiteY409" fmla="*/ 4258967 h 5456343"/>
              <a:gd name="connsiteX410" fmla="*/ 1128185 w 5529990"/>
              <a:gd name="connsiteY410" fmla="*/ 4246273 h 5456343"/>
              <a:gd name="connsiteX411" fmla="*/ 1114189 w 5529990"/>
              <a:gd name="connsiteY411" fmla="*/ 4244360 h 5456343"/>
              <a:gd name="connsiteX412" fmla="*/ 1101745 w 5529990"/>
              <a:gd name="connsiteY412" fmla="*/ 4249907 h 5456343"/>
              <a:gd name="connsiteX413" fmla="*/ 1089334 w 5529990"/>
              <a:gd name="connsiteY413" fmla="*/ 4250366 h 5456343"/>
              <a:gd name="connsiteX414" fmla="*/ 1081819 w 5529990"/>
              <a:gd name="connsiteY414" fmla="*/ 4248119 h 5456343"/>
              <a:gd name="connsiteX415" fmla="*/ 1066120 w 5529990"/>
              <a:gd name="connsiteY415" fmla="*/ 4264125 h 5456343"/>
              <a:gd name="connsiteX416" fmla="*/ 1050323 w 5529990"/>
              <a:gd name="connsiteY416" fmla="*/ 4294755 h 5456343"/>
              <a:gd name="connsiteX417" fmla="*/ 983313 w 5529990"/>
              <a:gd name="connsiteY417" fmla="*/ 4357938 h 5456343"/>
              <a:gd name="connsiteX418" fmla="*/ 960346 w 5529990"/>
              <a:gd name="connsiteY418" fmla="*/ 4334969 h 5456343"/>
              <a:gd name="connsiteX419" fmla="*/ 1002467 w 5529990"/>
              <a:gd name="connsiteY419" fmla="*/ 4292849 h 5456343"/>
              <a:gd name="connsiteX420" fmla="*/ 1033100 w 5529990"/>
              <a:gd name="connsiteY420" fmla="*/ 4258387 h 5456343"/>
              <a:gd name="connsiteX421" fmla="*/ 998661 w 5529990"/>
              <a:gd name="connsiteY421" fmla="*/ 4158853 h 5456343"/>
              <a:gd name="connsiteX422" fmla="*/ 956556 w 5529990"/>
              <a:gd name="connsiteY422" fmla="*/ 4105261 h 5456343"/>
              <a:gd name="connsiteX423" fmla="*/ 904879 w 5529990"/>
              <a:gd name="connsiteY423" fmla="*/ 4057413 h 5456343"/>
              <a:gd name="connsiteX424" fmla="*/ 885736 w 5529990"/>
              <a:gd name="connsiteY424" fmla="*/ 4065073 h 5456343"/>
              <a:gd name="connsiteX425" fmla="*/ 818745 w 5529990"/>
              <a:gd name="connsiteY425" fmla="*/ 4013399 h 5456343"/>
              <a:gd name="connsiteX426" fmla="*/ 826409 w 5529990"/>
              <a:gd name="connsiteY426" fmla="*/ 3971284 h 5456343"/>
              <a:gd name="connsiteX427" fmla="*/ 870463 w 5529990"/>
              <a:gd name="connsiteY427" fmla="*/ 3816223 h 5456343"/>
              <a:gd name="connsiteX428" fmla="*/ 849420 w 5529990"/>
              <a:gd name="connsiteY428" fmla="*/ 3733913 h 5456343"/>
              <a:gd name="connsiteX429" fmla="*/ 837936 w 5529990"/>
              <a:gd name="connsiteY429" fmla="*/ 3722429 h 5456343"/>
              <a:gd name="connsiteX430" fmla="*/ 847517 w 5529990"/>
              <a:gd name="connsiteY430" fmla="*/ 3670743 h 5456343"/>
              <a:gd name="connsiteX431" fmla="*/ 871187 w 5529990"/>
              <a:gd name="connsiteY431" fmla="*/ 3654468 h 5456343"/>
              <a:gd name="connsiteX432" fmla="*/ 862921 w 5529990"/>
              <a:gd name="connsiteY432" fmla="*/ 3655033 h 5456343"/>
              <a:gd name="connsiteX433" fmla="*/ 865726 w 5529990"/>
              <a:gd name="connsiteY433" fmla="*/ 3649731 h 5456343"/>
              <a:gd name="connsiteX434" fmla="*/ 920326 w 5529990"/>
              <a:gd name="connsiteY434" fmla="*/ 3587177 h 5456343"/>
              <a:gd name="connsiteX435" fmla="*/ 925490 w 5529990"/>
              <a:gd name="connsiteY435" fmla="*/ 3584399 h 5456343"/>
              <a:gd name="connsiteX436" fmla="*/ 928649 w 5529990"/>
              <a:gd name="connsiteY436" fmla="*/ 3574777 h 5456343"/>
              <a:gd name="connsiteX437" fmla="*/ 925932 w 5529990"/>
              <a:gd name="connsiteY437" fmla="*/ 3550999 h 5456343"/>
              <a:gd name="connsiteX438" fmla="*/ 917654 w 5529990"/>
              <a:gd name="connsiteY438" fmla="*/ 3534979 h 5456343"/>
              <a:gd name="connsiteX439" fmla="*/ 912238 w 5529990"/>
              <a:gd name="connsiteY439" fmla="*/ 3534153 h 5456343"/>
              <a:gd name="connsiteX440" fmla="*/ 892558 w 5529990"/>
              <a:gd name="connsiteY440" fmla="*/ 3527474 h 5456343"/>
              <a:gd name="connsiteX441" fmla="*/ 830681 w 5529990"/>
              <a:gd name="connsiteY441" fmla="*/ 3510117 h 5456343"/>
              <a:gd name="connsiteX442" fmla="*/ 626610 w 5529990"/>
              <a:gd name="connsiteY442" fmla="*/ 3543722 h 5456343"/>
              <a:gd name="connsiteX443" fmla="*/ 581781 w 5529990"/>
              <a:gd name="connsiteY443" fmla="*/ 3551541 h 5456343"/>
              <a:gd name="connsiteX444" fmla="*/ 534885 w 5529990"/>
              <a:gd name="connsiteY444" fmla="*/ 3586592 h 5456343"/>
              <a:gd name="connsiteX445" fmla="*/ 508756 w 5529990"/>
              <a:gd name="connsiteY445" fmla="*/ 3607073 h 5456343"/>
              <a:gd name="connsiteX446" fmla="*/ 473000 w 5529990"/>
              <a:gd name="connsiteY446" fmla="*/ 3615583 h 5456343"/>
              <a:gd name="connsiteX447" fmla="*/ 451138 w 5529990"/>
              <a:gd name="connsiteY447" fmla="*/ 3607596 h 5456343"/>
              <a:gd name="connsiteX448" fmla="*/ 426615 w 5529990"/>
              <a:gd name="connsiteY448" fmla="*/ 3498773 h 5456343"/>
              <a:gd name="connsiteX449" fmla="*/ 434951 w 5529990"/>
              <a:gd name="connsiteY449" fmla="*/ 3478138 h 5456343"/>
              <a:gd name="connsiteX450" fmla="*/ 0 w 5529990"/>
              <a:gd name="connsiteY450" fmla="*/ 3478138 h 5456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</a:cxnLst>
            <a:rect l="l" t="t" r="r" b="b"/>
            <a:pathLst>
              <a:path w="5529990" h="5456343">
                <a:moveTo>
                  <a:pt x="5203477" y="4996820"/>
                </a:moveTo>
                <a:lnTo>
                  <a:pt x="5205385" y="4997961"/>
                </a:lnTo>
                <a:lnTo>
                  <a:pt x="5204062" y="4999290"/>
                </a:lnTo>
                <a:close/>
                <a:moveTo>
                  <a:pt x="3285288" y="850958"/>
                </a:moveTo>
                <a:lnTo>
                  <a:pt x="3285287" y="957889"/>
                </a:lnTo>
                <a:lnTo>
                  <a:pt x="3309883" y="964960"/>
                </a:lnTo>
                <a:lnTo>
                  <a:pt x="3342876" y="959101"/>
                </a:lnTo>
                <a:lnTo>
                  <a:pt x="3347625" y="953011"/>
                </a:lnTo>
                <a:cubicBezTo>
                  <a:pt x="3352506" y="941170"/>
                  <a:pt x="3345185" y="930079"/>
                  <a:pt x="3340340" y="917595"/>
                </a:cubicBezTo>
                <a:cubicBezTo>
                  <a:pt x="3332916" y="904388"/>
                  <a:pt x="3317655" y="892691"/>
                  <a:pt x="3323433" y="872062"/>
                </a:cubicBezTo>
                <a:cubicBezTo>
                  <a:pt x="3326596" y="867388"/>
                  <a:pt x="3321373" y="852944"/>
                  <a:pt x="3302259" y="854999"/>
                </a:cubicBezTo>
                <a:close/>
                <a:moveTo>
                  <a:pt x="97597" y="97597"/>
                </a:moveTo>
                <a:lnTo>
                  <a:pt x="97597" y="3380541"/>
                </a:lnTo>
                <a:lnTo>
                  <a:pt x="925476" y="3380541"/>
                </a:lnTo>
                <a:lnTo>
                  <a:pt x="946229" y="3355733"/>
                </a:lnTo>
                <a:cubicBezTo>
                  <a:pt x="955151" y="3350356"/>
                  <a:pt x="965808" y="3348710"/>
                  <a:pt x="978940" y="3351467"/>
                </a:cubicBezTo>
                <a:cubicBezTo>
                  <a:pt x="988016" y="3352158"/>
                  <a:pt x="997814" y="3350272"/>
                  <a:pt x="1007525" y="3349520"/>
                </a:cubicBezTo>
                <a:lnTo>
                  <a:pt x="1031564" y="3353683"/>
                </a:lnTo>
                <a:lnTo>
                  <a:pt x="1032954" y="3351929"/>
                </a:lnTo>
                <a:cubicBezTo>
                  <a:pt x="1041511" y="3336793"/>
                  <a:pt x="1046658" y="3321358"/>
                  <a:pt x="1046660" y="3307002"/>
                </a:cubicBezTo>
                <a:cubicBezTo>
                  <a:pt x="1046661" y="3298388"/>
                  <a:pt x="1047980" y="3291329"/>
                  <a:pt x="1050343" y="3285495"/>
                </a:cubicBezTo>
                <a:lnTo>
                  <a:pt x="1053485" y="3281034"/>
                </a:lnTo>
                <a:lnTo>
                  <a:pt x="213108" y="3281033"/>
                </a:lnTo>
                <a:lnTo>
                  <a:pt x="213107" y="208854"/>
                </a:lnTo>
                <a:lnTo>
                  <a:pt x="3285287" y="208854"/>
                </a:lnTo>
                <a:lnTo>
                  <a:pt x="3285287" y="805089"/>
                </a:lnTo>
                <a:lnTo>
                  <a:pt x="3285421" y="805084"/>
                </a:lnTo>
                <a:cubicBezTo>
                  <a:pt x="3294358" y="808749"/>
                  <a:pt x="3302058" y="816008"/>
                  <a:pt x="3308726" y="825294"/>
                </a:cubicBezTo>
                <a:cubicBezTo>
                  <a:pt x="3318349" y="837264"/>
                  <a:pt x="3328663" y="840157"/>
                  <a:pt x="3343101" y="834936"/>
                </a:cubicBezTo>
                <a:cubicBezTo>
                  <a:pt x="3347502" y="832463"/>
                  <a:pt x="3351903" y="829989"/>
                  <a:pt x="3357542" y="829717"/>
                </a:cubicBezTo>
                <a:lnTo>
                  <a:pt x="3389087" y="840123"/>
                </a:lnTo>
                <a:lnTo>
                  <a:pt x="3389087" y="97597"/>
                </a:lnTo>
                <a:close/>
                <a:moveTo>
                  <a:pt x="0" y="0"/>
                </a:moveTo>
                <a:lnTo>
                  <a:pt x="3486684" y="0"/>
                </a:lnTo>
                <a:lnTo>
                  <a:pt x="3486684" y="833838"/>
                </a:lnTo>
                <a:lnTo>
                  <a:pt x="3500172" y="834269"/>
                </a:lnTo>
                <a:cubicBezTo>
                  <a:pt x="3505844" y="834701"/>
                  <a:pt x="3511551" y="835838"/>
                  <a:pt x="3516226" y="839003"/>
                </a:cubicBezTo>
                <a:cubicBezTo>
                  <a:pt x="3558715" y="852776"/>
                  <a:pt x="3606019" y="849359"/>
                  <a:pt x="3647545" y="866570"/>
                </a:cubicBezTo>
                <a:cubicBezTo>
                  <a:pt x="3654421" y="868498"/>
                  <a:pt x="3662259" y="866989"/>
                  <a:pt x="3662947" y="857912"/>
                </a:cubicBezTo>
                <a:cubicBezTo>
                  <a:pt x="3663910" y="854475"/>
                  <a:pt x="3661435" y="850071"/>
                  <a:pt x="3656762" y="846906"/>
                </a:cubicBezTo>
                <a:cubicBezTo>
                  <a:pt x="3612486" y="819655"/>
                  <a:pt x="3566012" y="793639"/>
                  <a:pt x="3515960" y="787015"/>
                </a:cubicBezTo>
                <a:cubicBezTo>
                  <a:pt x="3500008" y="784394"/>
                  <a:pt x="3493133" y="782466"/>
                  <a:pt x="3489147" y="770223"/>
                </a:cubicBezTo>
                <a:cubicBezTo>
                  <a:pt x="3481723" y="757017"/>
                  <a:pt x="3488465" y="732951"/>
                  <a:pt x="3498229" y="724565"/>
                </a:cubicBezTo>
                <a:cubicBezTo>
                  <a:pt x="3504213" y="719755"/>
                  <a:pt x="3510881" y="717454"/>
                  <a:pt x="3516829" y="717732"/>
                </a:cubicBezTo>
                <a:cubicBezTo>
                  <a:pt x="3522775" y="718009"/>
                  <a:pt x="3528002" y="720865"/>
                  <a:pt x="3531095" y="726369"/>
                </a:cubicBezTo>
                <a:cubicBezTo>
                  <a:pt x="3540717" y="738339"/>
                  <a:pt x="3552408" y="723077"/>
                  <a:pt x="3557357" y="731881"/>
                </a:cubicBezTo>
                <a:cubicBezTo>
                  <a:pt x="3563543" y="742887"/>
                  <a:pt x="3573584" y="740141"/>
                  <a:pt x="3581695" y="744271"/>
                </a:cubicBezTo>
                <a:cubicBezTo>
                  <a:pt x="3610433" y="754187"/>
                  <a:pt x="3634771" y="766576"/>
                  <a:pt x="3651817" y="791752"/>
                </a:cubicBezTo>
                <a:cubicBezTo>
                  <a:pt x="3662955" y="811562"/>
                  <a:pt x="3687707" y="809235"/>
                  <a:pt x="3701043" y="827808"/>
                </a:cubicBezTo>
                <a:cubicBezTo>
                  <a:pt x="3718363" y="858625"/>
                  <a:pt x="3755903" y="863592"/>
                  <a:pt x="3778589" y="888498"/>
                </a:cubicBezTo>
                <a:cubicBezTo>
                  <a:pt x="3807187" y="918769"/>
                  <a:pt x="3843349" y="941890"/>
                  <a:pt x="3870983" y="975599"/>
                </a:cubicBezTo>
                <a:cubicBezTo>
                  <a:pt x="3881846" y="989770"/>
                  <a:pt x="3896558" y="990189"/>
                  <a:pt x="3913472" y="989372"/>
                </a:cubicBezTo>
                <a:cubicBezTo>
                  <a:pt x="3923511" y="986625"/>
                  <a:pt x="3936024" y="988282"/>
                  <a:pt x="3940973" y="997085"/>
                </a:cubicBezTo>
                <a:cubicBezTo>
                  <a:pt x="3948670" y="1015932"/>
                  <a:pt x="3967786" y="1013877"/>
                  <a:pt x="3982772" y="1019936"/>
                </a:cubicBezTo>
                <a:cubicBezTo>
                  <a:pt x="3978104" y="970422"/>
                  <a:pt x="3961198" y="924889"/>
                  <a:pt x="3937964" y="888706"/>
                </a:cubicBezTo>
                <a:cubicBezTo>
                  <a:pt x="3928065" y="871097"/>
                  <a:pt x="3912388" y="874116"/>
                  <a:pt x="3899601" y="866821"/>
                </a:cubicBezTo>
                <a:cubicBezTo>
                  <a:pt x="3878701" y="855396"/>
                  <a:pt x="3863440" y="843699"/>
                  <a:pt x="3853267" y="820451"/>
                </a:cubicBezTo>
                <a:cubicBezTo>
                  <a:pt x="3845844" y="807243"/>
                  <a:pt x="3839658" y="796238"/>
                  <a:pt x="3829759" y="778630"/>
                </a:cubicBezTo>
                <a:cubicBezTo>
                  <a:pt x="3856712" y="775065"/>
                  <a:pt x="3879951" y="764897"/>
                  <a:pt x="3899474" y="794477"/>
                </a:cubicBezTo>
                <a:cubicBezTo>
                  <a:pt x="3906898" y="807684"/>
                  <a:pt x="3932471" y="822274"/>
                  <a:pt x="3949113" y="815817"/>
                </a:cubicBezTo>
                <a:cubicBezTo>
                  <a:pt x="3967952" y="808123"/>
                  <a:pt x="3973176" y="822568"/>
                  <a:pt x="3979087" y="827934"/>
                </a:cubicBezTo>
                <a:cubicBezTo>
                  <a:pt x="3993387" y="843069"/>
                  <a:pt x="4011123" y="859169"/>
                  <a:pt x="4029548" y="866192"/>
                </a:cubicBezTo>
                <a:cubicBezTo>
                  <a:pt x="4051411" y="874180"/>
                  <a:pt x="4053745" y="898937"/>
                  <a:pt x="4074646" y="910362"/>
                </a:cubicBezTo>
                <a:cubicBezTo>
                  <a:pt x="4086196" y="915455"/>
                  <a:pt x="4092382" y="926461"/>
                  <a:pt x="4111496" y="924407"/>
                </a:cubicBezTo>
                <a:cubicBezTo>
                  <a:pt x="4136249" y="922079"/>
                  <a:pt x="4154948" y="934741"/>
                  <a:pt x="4161957" y="962664"/>
                </a:cubicBezTo>
                <a:cubicBezTo>
                  <a:pt x="4152192" y="971049"/>
                  <a:pt x="4137753" y="976269"/>
                  <a:pt x="4131426" y="985620"/>
                </a:cubicBezTo>
                <a:cubicBezTo>
                  <a:pt x="4125375" y="1000608"/>
                  <a:pt x="4126197" y="1017525"/>
                  <a:pt x="4134857" y="1032933"/>
                </a:cubicBezTo>
                <a:cubicBezTo>
                  <a:pt x="4141044" y="1043939"/>
                  <a:pt x="4129079" y="1053560"/>
                  <a:pt x="4138703" y="1065530"/>
                </a:cubicBezTo>
                <a:cubicBezTo>
                  <a:pt x="4144615" y="1070897"/>
                  <a:pt x="4125501" y="1072951"/>
                  <a:pt x="4128249" y="1082993"/>
                </a:cubicBezTo>
                <a:cubicBezTo>
                  <a:pt x="4129487" y="1085194"/>
                  <a:pt x="4140488" y="1079010"/>
                  <a:pt x="4147363" y="1080938"/>
                </a:cubicBezTo>
                <a:cubicBezTo>
                  <a:pt x="4155477" y="1085068"/>
                  <a:pt x="4161388" y="1090434"/>
                  <a:pt x="4170738" y="1096765"/>
                </a:cubicBezTo>
                <a:cubicBezTo>
                  <a:pt x="4179125" y="1106535"/>
                  <a:pt x="4178437" y="1115611"/>
                  <a:pt x="4166471" y="1125234"/>
                </a:cubicBezTo>
                <a:cubicBezTo>
                  <a:pt x="4141305" y="1142278"/>
                  <a:pt x="4137452" y="1156029"/>
                  <a:pt x="4151337" y="1185880"/>
                </a:cubicBezTo>
                <a:cubicBezTo>
                  <a:pt x="4156286" y="1194685"/>
                  <a:pt x="4142120" y="1205544"/>
                  <a:pt x="4159309" y="1210365"/>
                </a:cubicBezTo>
                <a:cubicBezTo>
                  <a:pt x="4185164" y="1184245"/>
                  <a:pt x="4187920" y="1147936"/>
                  <a:pt x="4205665" y="1117687"/>
                </a:cubicBezTo>
                <a:cubicBezTo>
                  <a:pt x="4208827" y="1113012"/>
                  <a:pt x="4208552" y="1107373"/>
                  <a:pt x="4209517" y="1103935"/>
                </a:cubicBezTo>
                <a:cubicBezTo>
                  <a:pt x="4213642" y="1095822"/>
                  <a:pt x="4218043" y="1093348"/>
                  <a:pt x="4224918" y="1095278"/>
                </a:cubicBezTo>
                <a:cubicBezTo>
                  <a:pt x="4229592" y="1098442"/>
                  <a:pt x="4232067" y="1102845"/>
                  <a:pt x="4232341" y="1108484"/>
                </a:cubicBezTo>
                <a:cubicBezTo>
                  <a:pt x="4224362" y="1130348"/>
                  <a:pt x="4221059" y="1155379"/>
                  <a:pt x="4211843" y="1175042"/>
                </a:cubicBezTo>
                <a:cubicBezTo>
                  <a:pt x="4198499" y="1202818"/>
                  <a:pt x="4213073" y="1223592"/>
                  <a:pt x="4227373" y="1238729"/>
                </a:cubicBezTo>
                <a:cubicBezTo>
                  <a:pt x="4239197" y="1249462"/>
                  <a:pt x="4252533" y="1268034"/>
                  <a:pt x="4277010" y="1260069"/>
                </a:cubicBezTo>
                <a:cubicBezTo>
                  <a:pt x="4289250" y="1256085"/>
                  <a:pt x="4305201" y="1258706"/>
                  <a:pt x="4319914" y="1259126"/>
                </a:cubicBezTo>
                <a:cubicBezTo>
                  <a:pt x="4360617" y="1259418"/>
                  <a:pt x="4386465" y="1279648"/>
                  <a:pt x="4394024" y="1318850"/>
                </a:cubicBezTo>
                <a:cubicBezTo>
                  <a:pt x="4400069" y="1350210"/>
                  <a:pt x="4407078" y="1378133"/>
                  <a:pt x="4439529" y="1394653"/>
                </a:cubicBezTo>
                <a:lnTo>
                  <a:pt x="4465896" y="1405900"/>
                </a:lnTo>
                <a:lnTo>
                  <a:pt x="4496792" y="1389917"/>
                </a:lnTo>
                <a:cubicBezTo>
                  <a:pt x="4507035" y="1380041"/>
                  <a:pt x="4514057" y="1366965"/>
                  <a:pt x="4517002" y="1350259"/>
                </a:cubicBezTo>
                <a:cubicBezTo>
                  <a:pt x="4520352" y="1326277"/>
                  <a:pt x="4525431" y="1307426"/>
                  <a:pt x="4543362" y="1292820"/>
                </a:cubicBezTo>
                <a:cubicBezTo>
                  <a:pt x="4551896" y="1284234"/>
                  <a:pt x="4562155" y="1280780"/>
                  <a:pt x="4573307" y="1288454"/>
                </a:cubicBezTo>
                <a:cubicBezTo>
                  <a:pt x="4582731" y="1290996"/>
                  <a:pt x="4586185" y="1301260"/>
                  <a:pt x="4586211" y="1309822"/>
                </a:cubicBezTo>
                <a:cubicBezTo>
                  <a:pt x="4585426" y="1332941"/>
                  <a:pt x="4578645" y="1355222"/>
                  <a:pt x="4565007" y="1374097"/>
                </a:cubicBezTo>
                <a:lnTo>
                  <a:pt x="4525037" y="1424592"/>
                </a:lnTo>
                <a:lnTo>
                  <a:pt x="4537809" y="1428478"/>
                </a:lnTo>
                <a:cubicBezTo>
                  <a:pt x="4547845" y="1431526"/>
                  <a:pt x="4558400" y="1433560"/>
                  <a:pt x="4570157" y="1431296"/>
                </a:cubicBezTo>
                <a:cubicBezTo>
                  <a:pt x="4577996" y="1429785"/>
                  <a:pt x="4581708" y="1436389"/>
                  <a:pt x="4584183" y="1440791"/>
                </a:cubicBezTo>
                <a:cubicBezTo>
                  <a:pt x="4602468" y="1468169"/>
                  <a:pt x="4606314" y="1500767"/>
                  <a:pt x="4615797" y="1533093"/>
                </a:cubicBezTo>
                <a:cubicBezTo>
                  <a:pt x="4619782" y="1545335"/>
                  <a:pt x="4624319" y="1557269"/>
                  <a:pt x="4630077" y="1568154"/>
                </a:cubicBezTo>
                <a:lnTo>
                  <a:pt x="4642622" y="1584865"/>
                </a:lnTo>
                <a:lnTo>
                  <a:pt x="4650392" y="1585335"/>
                </a:lnTo>
                <a:cubicBezTo>
                  <a:pt x="4669212" y="1581857"/>
                  <a:pt x="4687170" y="1575812"/>
                  <a:pt x="4706855" y="1574900"/>
                </a:cubicBezTo>
                <a:cubicBezTo>
                  <a:pt x="4719693" y="1574864"/>
                  <a:pt x="4728693" y="1578264"/>
                  <a:pt x="4733741" y="1584777"/>
                </a:cubicBezTo>
                <a:lnTo>
                  <a:pt x="4735707" y="1602394"/>
                </a:lnTo>
                <a:lnTo>
                  <a:pt x="4744256" y="1600647"/>
                </a:lnTo>
                <a:cubicBezTo>
                  <a:pt x="4756082" y="1599792"/>
                  <a:pt x="4768286" y="1600897"/>
                  <a:pt x="4780936" y="1605372"/>
                </a:cubicBezTo>
                <a:cubicBezTo>
                  <a:pt x="4801836" y="1616799"/>
                  <a:pt x="4810496" y="1632206"/>
                  <a:pt x="4803756" y="1656271"/>
                </a:cubicBezTo>
                <a:cubicBezTo>
                  <a:pt x="4798940" y="1673462"/>
                  <a:pt x="4788212" y="1685285"/>
                  <a:pt x="4782161" y="1700274"/>
                </a:cubicBezTo>
                <a:cubicBezTo>
                  <a:pt x="4772256" y="1729014"/>
                  <a:pt x="4768951" y="1754045"/>
                  <a:pt x="4785999" y="1779221"/>
                </a:cubicBezTo>
                <a:cubicBezTo>
                  <a:pt x="4790949" y="1788026"/>
                  <a:pt x="4795899" y="1796830"/>
                  <a:pt x="4800847" y="1805635"/>
                </a:cubicBezTo>
                <a:lnTo>
                  <a:pt x="4804501" y="1810637"/>
                </a:lnTo>
                <a:lnTo>
                  <a:pt x="4845375" y="1808249"/>
                </a:lnTo>
                <a:cubicBezTo>
                  <a:pt x="4846894" y="1814880"/>
                  <a:pt x="4846053" y="1820341"/>
                  <a:pt x="4843969" y="1825149"/>
                </a:cubicBezTo>
                <a:lnTo>
                  <a:pt x="4843929" y="1825206"/>
                </a:lnTo>
                <a:lnTo>
                  <a:pt x="4852839" y="1826013"/>
                </a:lnTo>
                <a:cubicBezTo>
                  <a:pt x="4859010" y="1827976"/>
                  <a:pt x="4865335" y="1830215"/>
                  <a:pt x="4872074" y="1829323"/>
                </a:cubicBezTo>
                <a:cubicBezTo>
                  <a:pt x="4896826" y="1826996"/>
                  <a:pt x="4915835" y="1840208"/>
                  <a:pt x="4925096" y="1859262"/>
                </a:cubicBezTo>
                <a:lnTo>
                  <a:pt x="4929808" y="1883858"/>
                </a:lnTo>
                <a:lnTo>
                  <a:pt x="4939343" y="1886966"/>
                </a:lnTo>
                <a:cubicBezTo>
                  <a:pt x="4956041" y="1888844"/>
                  <a:pt x="4973154" y="1886656"/>
                  <a:pt x="4991962" y="1878897"/>
                </a:cubicBezTo>
                <a:cubicBezTo>
                  <a:pt x="4996228" y="1874604"/>
                  <a:pt x="4999657" y="1876306"/>
                  <a:pt x="5003950" y="1880575"/>
                </a:cubicBezTo>
                <a:cubicBezTo>
                  <a:pt x="4998008" y="1896860"/>
                  <a:pt x="4979187" y="1900338"/>
                  <a:pt x="4972381" y="1914056"/>
                </a:cubicBezTo>
                <a:cubicBezTo>
                  <a:pt x="4973245" y="1916623"/>
                  <a:pt x="4974108" y="1919188"/>
                  <a:pt x="4975836" y="1924321"/>
                </a:cubicBezTo>
                <a:cubicBezTo>
                  <a:pt x="4991365" y="1964091"/>
                  <a:pt x="5011707" y="2003846"/>
                  <a:pt x="5015575" y="2048343"/>
                </a:cubicBezTo>
                <a:lnTo>
                  <a:pt x="5014612" y="2066816"/>
                </a:lnTo>
                <a:lnTo>
                  <a:pt x="5068869" y="2055795"/>
                </a:lnTo>
                <a:cubicBezTo>
                  <a:pt x="5091061" y="2050200"/>
                  <a:pt x="5113097" y="2044332"/>
                  <a:pt x="5135512" y="2040422"/>
                </a:cubicBezTo>
                <a:cubicBezTo>
                  <a:pt x="5151189" y="2037403"/>
                  <a:pt x="5165629" y="2032183"/>
                  <a:pt x="5180616" y="2038241"/>
                </a:cubicBezTo>
                <a:cubicBezTo>
                  <a:pt x="5192167" y="2043336"/>
                  <a:pt x="5207843" y="2040317"/>
                  <a:pt x="5204265" y="2059708"/>
                </a:cubicBezTo>
                <a:cubicBezTo>
                  <a:pt x="5201375" y="2070022"/>
                  <a:pt x="5212238" y="2084193"/>
                  <a:pt x="5192160" y="2089685"/>
                </a:cubicBezTo>
                <a:cubicBezTo>
                  <a:pt x="5176483" y="2092704"/>
                  <a:pt x="5169194" y="2105491"/>
                  <a:pt x="5148842" y="2105345"/>
                </a:cubicBezTo>
                <a:cubicBezTo>
                  <a:pt x="5131928" y="2106163"/>
                  <a:pt x="5112124" y="2117294"/>
                  <a:pt x="5101673" y="2134757"/>
                </a:cubicBezTo>
                <a:cubicBezTo>
                  <a:pt x="5093145" y="2145342"/>
                  <a:pt x="5085032" y="2141214"/>
                  <a:pt x="5078431" y="2144923"/>
                </a:cubicBezTo>
                <a:cubicBezTo>
                  <a:pt x="5069011" y="2148770"/>
                  <a:pt x="5060726" y="2146910"/>
                  <a:pt x="5052563" y="2144620"/>
                </a:cubicBezTo>
                <a:lnTo>
                  <a:pt x="5037286" y="2142869"/>
                </a:lnTo>
                <a:lnTo>
                  <a:pt x="5039213" y="2146539"/>
                </a:lnTo>
                <a:cubicBezTo>
                  <a:pt x="5039657" y="2152103"/>
                  <a:pt x="5037321" y="2157888"/>
                  <a:pt x="5030489" y="2163045"/>
                </a:cubicBezTo>
                <a:lnTo>
                  <a:pt x="5028179" y="2165369"/>
                </a:lnTo>
                <a:lnTo>
                  <a:pt x="5046078" y="2171076"/>
                </a:lnTo>
                <a:cubicBezTo>
                  <a:pt x="5062408" y="2175655"/>
                  <a:pt x="5078495" y="2181095"/>
                  <a:pt x="5093139" y="2191692"/>
                </a:cubicBezTo>
                <a:cubicBezTo>
                  <a:pt x="5104687" y="2196786"/>
                  <a:pt x="5118438" y="2200643"/>
                  <a:pt x="5123662" y="2215086"/>
                </a:cubicBezTo>
                <a:cubicBezTo>
                  <a:pt x="5122699" y="2218526"/>
                  <a:pt x="5125173" y="2222928"/>
                  <a:pt x="5128611" y="2223892"/>
                </a:cubicBezTo>
                <a:cubicBezTo>
                  <a:pt x="5186634" y="2255001"/>
                  <a:pt x="5200927" y="2316485"/>
                  <a:pt x="5228422" y="2370550"/>
                </a:cubicBezTo>
                <a:cubicBezTo>
                  <a:pt x="5229660" y="2372750"/>
                  <a:pt x="5226497" y="2377426"/>
                  <a:pt x="5228697" y="2376188"/>
                </a:cubicBezTo>
                <a:cubicBezTo>
                  <a:pt x="5262110" y="2389270"/>
                  <a:pt x="5261555" y="2424342"/>
                  <a:pt x="5262652" y="2446897"/>
                </a:cubicBezTo>
                <a:cubicBezTo>
                  <a:pt x="5266498" y="2479496"/>
                  <a:pt x="5284508" y="2501235"/>
                  <a:pt x="5299355" y="2527647"/>
                </a:cubicBezTo>
                <a:cubicBezTo>
                  <a:pt x="5308015" y="2543057"/>
                  <a:pt x="5331804" y="2544168"/>
                  <a:pt x="5348719" y="2543349"/>
                </a:cubicBezTo>
                <a:cubicBezTo>
                  <a:pt x="5367833" y="2541295"/>
                  <a:pt x="5381583" y="2545151"/>
                  <a:pt x="5393408" y="2555885"/>
                </a:cubicBezTo>
                <a:cubicBezTo>
                  <a:pt x="5398083" y="2559051"/>
                  <a:pt x="5402759" y="2562217"/>
                  <a:pt x="5407160" y="2559743"/>
                </a:cubicBezTo>
                <a:cubicBezTo>
                  <a:pt x="5427651" y="2539534"/>
                  <a:pt x="5449372" y="2567875"/>
                  <a:pt x="5472613" y="2557709"/>
                </a:cubicBezTo>
                <a:cubicBezTo>
                  <a:pt x="5480452" y="2556199"/>
                  <a:pt x="5484437" y="2568442"/>
                  <a:pt x="5485949" y="2576283"/>
                </a:cubicBezTo>
                <a:cubicBezTo>
                  <a:pt x="5490899" y="2585087"/>
                  <a:pt x="5473985" y="2585904"/>
                  <a:pt x="5476734" y="2595946"/>
                </a:cubicBezTo>
                <a:cubicBezTo>
                  <a:pt x="5480171" y="2596910"/>
                  <a:pt x="5485810" y="2596637"/>
                  <a:pt x="5490484" y="2599804"/>
                </a:cubicBezTo>
                <a:cubicBezTo>
                  <a:pt x="5498596" y="2603933"/>
                  <a:pt x="5516473" y="2599677"/>
                  <a:pt x="5519497" y="2615358"/>
                </a:cubicBezTo>
                <a:cubicBezTo>
                  <a:pt x="5524719" y="2629801"/>
                  <a:pt x="5531179" y="2646446"/>
                  <a:pt x="5529803" y="2664600"/>
                </a:cubicBezTo>
                <a:cubicBezTo>
                  <a:pt x="5526223" y="2683991"/>
                  <a:pt x="5519210" y="2702418"/>
                  <a:pt x="5499679" y="2719188"/>
                </a:cubicBezTo>
                <a:cubicBezTo>
                  <a:pt x="5486478" y="2726609"/>
                  <a:pt x="5473551" y="2739669"/>
                  <a:pt x="5457599" y="2737049"/>
                </a:cubicBezTo>
                <a:cubicBezTo>
                  <a:pt x="5433810" y="2735938"/>
                  <a:pt x="5409747" y="2729188"/>
                  <a:pt x="5390773" y="2710887"/>
                </a:cubicBezTo>
                <a:cubicBezTo>
                  <a:pt x="5384860" y="2705521"/>
                  <a:pt x="5381149" y="2698917"/>
                  <a:pt x="5381838" y="2689840"/>
                </a:cubicBezTo>
                <a:cubicBezTo>
                  <a:pt x="5383215" y="2671686"/>
                  <a:pt x="5382393" y="2654769"/>
                  <a:pt x="5381571" y="2637851"/>
                </a:cubicBezTo>
                <a:cubicBezTo>
                  <a:pt x="5351870" y="2631374"/>
                  <a:pt x="5320930" y="2622696"/>
                  <a:pt x="5289992" y="2614017"/>
                </a:cubicBezTo>
                <a:cubicBezTo>
                  <a:pt x="5269225" y="2628586"/>
                  <a:pt x="5265923" y="2653616"/>
                  <a:pt x="5259180" y="2677681"/>
                </a:cubicBezTo>
                <a:cubicBezTo>
                  <a:pt x="5249549" y="2712061"/>
                  <a:pt x="5246794" y="2748370"/>
                  <a:pt x="5222176" y="2776691"/>
                </a:cubicBezTo>
                <a:cubicBezTo>
                  <a:pt x="5215850" y="2786040"/>
                  <a:pt x="5213235" y="2801994"/>
                  <a:pt x="5205122" y="2797863"/>
                </a:cubicBezTo>
                <a:cubicBezTo>
                  <a:pt x="5187934" y="2793042"/>
                  <a:pt x="5176517" y="2813942"/>
                  <a:pt x="5159054" y="2803482"/>
                </a:cubicBezTo>
                <a:cubicBezTo>
                  <a:pt x="5150942" y="2799352"/>
                  <a:pt x="5140903" y="2802098"/>
                  <a:pt x="5134992" y="2796732"/>
                </a:cubicBezTo>
                <a:cubicBezTo>
                  <a:pt x="5107905" y="2774301"/>
                  <a:pt x="5067476" y="2779647"/>
                  <a:pt x="5042589" y="2755979"/>
                </a:cubicBezTo>
                <a:cubicBezTo>
                  <a:pt x="5036678" y="2750613"/>
                  <a:pt x="5026914" y="2758998"/>
                  <a:pt x="5027187" y="2764637"/>
                </a:cubicBezTo>
                <a:cubicBezTo>
                  <a:pt x="5035159" y="2789122"/>
                  <a:pt x="5021269" y="2805621"/>
                  <a:pt x="5017692" y="2825011"/>
                </a:cubicBezTo>
                <a:cubicBezTo>
                  <a:pt x="4982901" y="2830084"/>
                  <a:pt x="4955814" y="2807653"/>
                  <a:pt x="4929276" y="2796501"/>
                </a:cubicBezTo>
                <a:cubicBezTo>
                  <a:pt x="4919925" y="2790170"/>
                  <a:pt x="4909613" y="2787277"/>
                  <a:pt x="4898064" y="2782184"/>
                </a:cubicBezTo>
                <a:cubicBezTo>
                  <a:pt x="4894625" y="2781219"/>
                  <a:pt x="4888987" y="2781492"/>
                  <a:pt x="4888987" y="2781492"/>
                </a:cubicBezTo>
                <a:cubicBezTo>
                  <a:pt x="4879083" y="2810233"/>
                  <a:pt x="4837143" y="2807738"/>
                  <a:pt x="4828476" y="2838679"/>
                </a:cubicBezTo>
                <a:cubicBezTo>
                  <a:pt x="4811828" y="2891486"/>
                  <a:pt x="4812096" y="2943474"/>
                  <a:pt x="4792012" y="2995316"/>
                </a:cubicBezTo>
                <a:cubicBezTo>
                  <a:pt x="4786923" y="3006867"/>
                  <a:pt x="4794346" y="3020074"/>
                  <a:pt x="4799984" y="3019801"/>
                </a:cubicBezTo>
                <a:cubicBezTo>
                  <a:pt x="4825285" y="3028753"/>
                  <a:pt x="4824181" y="3052545"/>
                  <a:pt x="4837243" y="3065480"/>
                </a:cubicBezTo>
                <a:cubicBezTo>
                  <a:pt x="4842191" y="3074285"/>
                  <a:pt x="4842467" y="3079925"/>
                  <a:pt x="4841777" y="3089001"/>
                </a:cubicBezTo>
                <a:cubicBezTo>
                  <a:pt x="4825820" y="3132731"/>
                  <a:pt x="4836815" y="3172896"/>
                  <a:pt x="4860050" y="3209077"/>
                </a:cubicBezTo>
                <a:cubicBezTo>
                  <a:pt x="4862524" y="3213480"/>
                  <a:pt x="4865000" y="3217883"/>
                  <a:pt x="4861834" y="3222557"/>
                </a:cubicBezTo>
                <a:cubicBezTo>
                  <a:pt x="4838321" y="3227085"/>
                  <a:pt x="4828147" y="3203838"/>
                  <a:pt x="4816322" y="3193104"/>
                </a:cubicBezTo>
                <a:cubicBezTo>
                  <a:pt x="4783050" y="3159668"/>
                  <a:pt x="4742214" y="3133380"/>
                  <a:pt x="4699177" y="3108328"/>
                </a:cubicBezTo>
                <a:cubicBezTo>
                  <a:pt x="4679514" y="3099106"/>
                  <a:pt x="4661363" y="3097722"/>
                  <a:pt x="4644723" y="3104179"/>
                </a:cubicBezTo>
                <a:cubicBezTo>
                  <a:pt x="4599204" y="3121076"/>
                  <a:pt x="4562347" y="3153380"/>
                  <a:pt x="4540752" y="3197380"/>
                </a:cubicBezTo>
                <a:cubicBezTo>
                  <a:pt x="4532225" y="3207968"/>
                  <a:pt x="4535796" y="3234927"/>
                  <a:pt x="4544184" y="3244695"/>
                </a:cubicBezTo>
                <a:cubicBezTo>
                  <a:pt x="4592028" y="3298906"/>
                  <a:pt x="4594503" y="3303308"/>
                  <a:pt x="4596283" y="3363136"/>
                </a:cubicBezTo>
                <a:cubicBezTo>
                  <a:pt x="4597106" y="3380055"/>
                  <a:pt x="4603291" y="3391060"/>
                  <a:pt x="4610716" y="3404267"/>
                </a:cubicBezTo>
                <a:cubicBezTo>
                  <a:pt x="4654021" y="3481307"/>
                  <a:pt x="4697325" y="3558345"/>
                  <a:pt x="4739666" y="3638823"/>
                </a:cubicBezTo>
                <a:cubicBezTo>
                  <a:pt x="4750801" y="3658634"/>
                  <a:pt x="4773902" y="3668822"/>
                  <a:pt x="4782837" y="3689868"/>
                </a:cubicBezTo>
                <a:cubicBezTo>
                  <a:pt x="4791772" y="3710916"/>
                  <a:pt x="4803871" y="3727288"/>
                  <a:pt x="4815006" y="3747099"/>
                </a:cubicBezTo>
                <a:cubicBezTo>
                  <a:pt x="4818719" y="3753702"/>
                  <a:pt x="4826556" y="3752193"/>
                  <a:pt x="4829032" y="3756594"/>
                </a:cubicBezTo>
                <a:cubicBezTo>
                  <a:pt x="4836180" y="3764162"/>
                  <a:pt x="4846768" y="3772694"/>
                  <a:pt x="4837004" y="3781080"/>
                </a:cubicBezTo>
                <a:cubicBezTo>
                  <a:pt x="4828475" y="3791666"/>
                  <a:pt x="4815689" y="3784371"/>
                  <a:pt x="4809775" y="3779005"/>
                </a:cubicBezTo>
                <a:cubicBezTo>
                  <a:pt x="4802627" y="3771436"/>
                  <a:pt x="4789838" y="3764142"/>
                  <a:pt x="4786128" y="3757537"/>
                </a:cubicBezTo>
                <a:cubicBezTo>
                  <a:pt x="4771969" y="3722048"/>
                  <a:pt x="4740482" y="3702091"/>
                  <a:pt x="4725360" y="3670038"/>
                </a:cubicBezTo>
                <a:cubicBezTo>
                  <a:pt x="4680818" y="3590797"/>
                  <a:pt x="4637514" y="3513757"/>
                  <a:pt x="4594209" y="3436718"/>
                </a:cubicBezTo>
                <a:cubicBezTo>
                  <a:pt x="4585548" y="3421310"/>
                  <a:pt x="4572760" y="3414015"/>
                  <a:pt x="4558738" y="3404519"/>
                </a:cubicBezTo>
                <a:cubicBezTo>
                  <a:pt x="4522573" y="3381395"/>
                  <a:pt x="4488614" y="3357037"/>
                  <a:pt x="4480507" y="3306558"/>
                </a:cubicBezTo>
                <a:cubicBezTo>
                  <a:pt x="4475839" y="3257043"/>
                  <a:pt x="4421110" y="3247252"/>
                  <a:pt x="4381231" y="3263877"/>
                </a:cubicBezTo>
                <a:cubicBezTo>
                  <a:pt x="4343551" y="3279265"/>
                  <a:pt x="4308620" y="3304692"/>
                  <a:pt x="4271213" y="3325719"/>
                </a:cubicBezTo>
                <a:cubicBezTo>
                  <a:pt x="4260211" y="3331903"/>
                  <a:pt x="4245217" y="3372193"/>
                  <a:pt x="4243839" y="3390348"/>
                </a:cubicBezTo>
                <a:cubicBezTo>
                  <a:pt x="4241706" y="3404582"/>
                  <a:pt x="4243492" y="3418061"/>
                  <a:pt x="4245828" y="3431231"/>
                </a:cubicBezTo>
                <a:lnTo>
                  <a:pt x="4249487" y="3458234"/>
                </a:lnTo>
                <a:lnTo>
                  <a:pt x="4268459" y="3485180"/>
                </a:lnTo>
                <a:cubicBezTo>
                  <a:pt x="4281443" y="3505708"/>
                  <a:pt x="4292876" y="3526961"/>
                  <a:pt x="4301641" y="3549872"/>
                </a:cubicBezTo>
                <a:cubicBezTo>
                  <a:pt x="4307055" y="3565296"/>
                  <a:pt x="4316508" y="3563422"/>
                  <a:pt x="4327699" y="3562381"/>
                </a:cubicBezTo>
                <a:cubicBezTo>
                  <a:pt x="4364295" y="3559642"/>
                  <a:pt x="4401792" y="3559473"/>
                  <a:pt x="4443283" y="3566565"/>
                </a:cubicBezTo>
                <a:cubicBezTo>
                  <a:pt x="4417314" y="3587231"/>
                  <a:pt x="4389789" y="3591118"/>
                  <a:pt x="4362331" y="3599313"/>
                </a:cubicBezTo>
                <a:cubicBezTo>
                  <a:pt x="4304843" y="3616605"/>
                  <a:pt x="4286341" y="3646200"/>
                  <a:pt x="4297508" y="3698587"/>
                </a:cubicBezTo>
                <a:cubicBezTo>
                  <a:pt x="4301772" y="3723079"/>
                  <a:pt x="4314000" y="3733224"/>
                  <a:pt x="4338953" y="3730240"/>
                </a:cubicBezTo>
                <a:cubicBezTo>
                  <a:pt x="4350144" y="3729199"/>
                  <a:pt x="4360432" y="3725588"/>
                  <a:pt x="4372142" y="3730140"/>
                </a:cubicBezTo>
                <a:cubicBezTo>
                  <a:pt x="4367268" y="3749176"/>
                  <a:pt x="4350550" y="3755045"/>
                  <a:pt x="4336403" y="3760011"/>
                </a:cubicBezTo>
                <a:cubicBezTo>
                  <a:pt x="4320971" y="3765428"/>
                  <a:pt x="4319369" y="3773209"/>
                  <a:pt x="4322595" y="3786514"/>
                </a:cubicBezTo>
                <a:cubicBezTo>
                  <a:pt x="4332656" y="3823408"/>
                  <a:pt x="4355894" y="3848458"/>
                  <a:pt x="4384277" y="3871702"/>
                </a:cubicBezTo>
                <a:cubicBezTo>
                  <a:pt x="4400431" y="3884800"/>
                  <a:pt x="4418322" y="3898733"/>
                  <a:pt x="4434476" y="3911831"/>
                </a:cubicBezTo>
                <a:cubicBezTo>
                  <a:pt x="4459384" y="3933408"/>
                  <a:pt x="4474454" y="3959880"/>
                  <a:pt x="4475830" y="3992604"/>
                </a:cubicBezTo>
                <a:cubicBezTo>
                  <a:pt x="4478491" y="4024877"/>
                  <a:pt x="4491171" y="4036308"/>
                  <a:pt x="4523073" y="4036659"/>
                </a:cubicBezTo>
                <a:cubicBezTo>
                  <a:pt x="4527382" y="4036590"/>
                  <a:pt x="4531241" y="4035236"/>
                  <a:pt x="4538122" y="4034264"/>
                </a:cubicBezTo>
                <a:cubicBezTo>
                  <a:pt x="4533767" y="4058894"/>
                  <a:pt x="4515830" y="4069521"/>
                  <a:pt x="4501368" y="4081817"/>
                </a:cubicBezTo>
                <a:cubicBezTo>
                  <a:pt x="4483498" y="4096752"/>
                  <a:pt x="4472127" y="4113738"/>
                  <a:pt x="4473367" y="4137847"/>
                </a:cubicBezTo>
                <a:cubicBezTo>
                  <a:pt x="4472351" y="4155528"/>
                  <a:pt x="4478984" y="4166194"/>
                  <a:pt x="4497959" y="4166752"/>
                </a:cubicBezTo>
                <a:cubicBezTo>
                  <a:pt x="4518219" y="4166859"/>
                  <a:pt x="4532952" y="4171794"/>
                  <a:pt x="4539336" y="4194097"/>
                </a:cubicBezTo>
                <a:cubicBezTo>
                  <a:pt x="4546556" y="4214663"/>
                  <a:pt x="4532026" y="4222651"/>
                  <a:pt x="4517947" y="4231925"/>
                </a:cubicBezTo>
                <a:cubicBezTo>
                  <a:pt x="4513254" y="4235016"/>
                  <a:pt x="4504252" y="4238176"/>
                  <a:pt x="4508696" y="4246722"/>
                </a:cubicBezTo>
                <a:cubicBezTo>
                  <a:pt x="4512306" y="4257005"/>
                  <a:pt x="4521511" y="4266768"/>
                  <a:pt x="4532701" y="4265727"/>
                </a:cubicBezTo>
                <a:cubicBezTo>
                  <a:pt x="4563701" y="4263508"/>
                  <a:pt x="4567446" y="4282407"/>
                  <a:pt x="4569138" y="4307801"/>
                </a:cubicBezTo>
                <a:lnTo>
                  <a:pt x="4581251" y="4356204"/>
                </a:lnTo>
                <a:lnTo>
                  <a:pt x="4581479" y="4355344"/>
                </a:lnTo>
                <a:cubicBezTo>
                  <a:pt x="4582962" y="4353590"/>
                  <a:pt x="4585120" y="4352240"/>
                  <a:pt x="4587279" y="4351160"/>
                </a:cubicBezTo>
                <a:cubicBezTo>
                  <a:pt x="4608862" y="4339284"/>
                  <a:pt x="4626128" y="4319848"/>
                  <a:pt x="4644474" y="4303653"/>
                </a:cubicBezTo>
                <a:cubicBezTo>
                  <a:pt x="4672532" y="4278820"/>
                  <a:pt x="4703828" y="4264784"/>
                  <a:pt x="4741598" y="4274501"/>
                </a:cubicBezTo>
                <a:cubicBezTo>
                  <a:pt x="4756706" y="4277740"/>
                  <a:pt x="4766419" y="4269103"/>
                  <a:pt x="4775052" y="4260465"/>
                </a:cubicBezTo>
                <a:cubicBezTo>
                  <a:pt x="4795556" y="4241031"/>
                  <a:pt x="4806348" y="4242110"/>
                  <a:pt x="4822535" y="4263704"/>
                </a:cubicBezTo>
                <a:cubicBezTo>
                  <a:pt x="4838722" y="4287458"/>
                  <a:pt x="4838722" y="4287458"/>
                  <a:pt x="4862464" y="4268023"/>
                </a:cubicBezTo>
                <a:cubicBezTo>
                  <a:pt x="4867859" y="4263704"/>
                  <a:pt x="4872176" y="4260465"/>
                  <a:pt x="4878651" y="4266943"/>
                </a:cubicBezTo>
                <a:cubicBezTo>
                  <a:pt x="4903472" y="4288537"/>
                  <a:pt x="4928292" y="4307972"/>
                  <a:pt x="4952034" y="4330645"/>
                </a:cubicBezTo>
                <a:cubicBezTo>
                  <a:pt x="4970379" y="4346841"/>
                  <a:pt x="4982250" y="4367356"/>
                  <a:pt x="4987646" y="4391109"/>
                </a:cubicBezTo>
                <a:cubicBezTo>
                  <a:pt x="4991963" y="4406225"/>
                  <a:pt x="5030812" y="4435377"/>
                  <a:pt x="5046999" y="4436456"/>
                </a:cubicBezTo>
                <a:cubicBezTo>
                  <a:pt x="5052395" y="4436456"/>
                  <a:pt x="5056712" y="4436456"/>
                  <a:pt x="5058870" y="4429978"/>
                </a:cubicBezTo>
                <a:cubicBezTo>
                  <a:pt x="5073978" y="4396508"/>
                  <a:pt x="5103116" y="4380312"/>
                  <a:pt x="5134411" y="4366276"/>
                </a:cubicBezTo>
                <a:cubicBezTo>
                  <a:pt x="5140886" y="4363037"/>
                  <a:pt x="5146282" y="4360877"/>
                  <a:pt x="5151678" y="4357638"/>
                </a:cubicBezTo>
                <a:cubicBezTo>
                  <a:pt x="5168944" y="4346841"/>
                  <a:pt x="5184052" y="4341442"/>
                  <a:pt x="5205636" y="4349000"/>
                </a:cubicBezTo>
                <a:cubicBezTo>
                  <a:pt x="5227219" y="4356559"/>
                  <a:pt x="5248802" y="4344681"/>
                  <a:pt x="5268226" y="4333885"/>
                </a:cubicBezTo>
                <a:cubicBezTo>
                  <a:pt x="5277939" y="4329566"/>
                  <a:pt x="5284414" y="4327406"/>
                  <a:pt x="5294126" y="4334964"/>
                </a:cubicBezTo>
                <a:cubicBezTo>
                  <a:pt x="5335134" y="4365196"/>
                  <a:pt x="5380459" y="4387870"/>
                  <a:pt x="5433338" y="4392189"/>
                </a:cubicBezTo>
                <a:cubicBezTo>
                  <a:pt x="5440892" y="4393268"/>
                  <a:pt x="5444129" y="4395428"/>
                  <a:pt x="5441971" y="4402986"/>
                </a:cubicBezTo>
                <a:cubicBezTo>
                  <a:pt x="5435496" y="4433217"/>
                  <a:pt x="5451683" y="4452652"/>
                  <a:pt x="5473266" y="4468847"/>
                </a:cubicBezTo>
                <a:cubicBezTo>
                  <a:pt x="5482979" y="4476405"/>
                  <a:pt x="5488374" y="4482883"/>
                  <a:pt x="5481899" y="4496919"/>
                </a:cubicBezTo>
                <a:cubicBezTo>
                  <a:pt x="5472187" y="4514195"/>
                  <a:pt x="5480820" y="4530390"/>
                  <a:pt x="5492691" y="4544426"/>
                </a:cubicBezTo>
                <a:cubicBezTo>
                  <a:pt x="5502403" y="4556303"/>
                  <a:pt x="5514274" y="4568179"/>
                  <a:pt x="5523987" y="4580056"/>
                </a:cubicBezTo>
                <a:cubicBezTo>
                  <a:pt x="5528303" y="4585994"/>
                  <a:pt x="5530731" y="4591663"/>
                  <a:pt x="5529787" y="4596252"/>
                </a:cubicBezTo>
                <a:cubicBezTo>
                  <a:pt x="5528843" y="4600841"/>
                  <a:pt x="5524527" y="4604349"/>
                  <a:pt x="5515353" y="4605969"/>
                </a:cubicBezTo>
                <a:cubicBezTo>
                  <a:pt x="5511037" y="4605969"/>
                  <a:pt x="5506720" y="4607049"/>
                  <a:pt x="5502403" y="4609208"/>
                </a:cubicBezTo>
                <a:cubicBezTo>
                  <a:pt x="5497008" y="4611367"/>
                  <a:pt x="5488374" y="4611367"/>
                  <a:pt x="5487295" y="4618925"/>
                </a:cubicBezTo>
                <a:cubicBezTo>
                  <a:pt x="5487295" y="4625403"/>
                  <a:pt x="5492691" y="4629722"/>
                  <a:pt x="5497008" y="4632961"/>
                </a:cubicBezTo>
                <a:cubicBezTo>
                  <a:pt x="5515353" y="4649157"/>
                  <a:pt x="5514274" y="4655635"/>
                  <a:pt x="5491612" y="4665352"/>
                </a:cubicBezTo>
                <a:cubicBezTo>
                  <a:pt x="5486216" y="4667512"/>
                  <a:pt x="5481899" y="4668591"/>
                  <a:pt x="5477583" y="4671830"/>
                </a:cubicBezTo>
                <a:cubicBezTo>
                  <a:pt x="5471108" y="4676149"/>
                  <a:pt x="5465712" y="4680468"/>
                  <a:pt x="5470029" y="4691265"/>
                </a:cubicBezTo>
                <a:cubicBezTo>
                  <a:pt x="5475424" y="4700983"/>
                  <a:pt x="5479741" y="4700983"/>
                  <a:pt x="5488374" y="4698823"/>
                </a:cubicBezTo>
                <a:lnTo>
                  <a:pt x="5504696" y="4697004"/>
                </a:lnTo>
                <a:lnTo>
                  <a:pt x="5420769" y="4781392"/>
                </a:lnTo>
                <a:lnTo>
                  <a:pt x="5413913" y="4776562"/>
                </a:lnTo>
                <a:cubicBezTo>
                  <a:pt x="5404200" y="4774402"/>
                  <a:pt x="5397726" y="4777641"/>
                  <a:pt x="5393409" y="4786279"/>
                </a:cubicBezTo>
                <a:cubicBezTo>
                  <a:pt x="5390171" y="4792757"/>
                  <a:pt x="5388013" y="4799235"/>
                  <a:pt x="5384776" y="4805713"/>
                </a:cubicBezTo>
                <a:cubicBezTo>
                  <a:pt x="5379380" y="4816510"/>
                  <a:pt x="5371826" y="4820829"/>
                  <a:pt x="5358876" y="4818670"/>
                </a:cubicBezTo>
                <a:cubicBezTo>
                  <a:pt x="5320026" y="4812192"/>
                  <a:pt x="5293047" y="4826228"/>
                  <a:pt x="5275781" y="4860778"/>
                </a:cubicBezTo>
                <a:cubicBezTo>
                  <a:pt x="5272543" y="4866176"/>
                  <a:pt x="5273622" y="4878053"/>
                  <a:pt x="5263910" y="4875894"/>
                </a:cubicBezTo>
                <a:cubicBezTo>
                  <a:pt x="5254197" y="4874814"/>
                  <a:pt x="5252039" y="4865097"/>
                  <a:pt x="5250960" y="4855379"/>
                </a:cubicBezTo>
                <a:cubicBezTo>
                  <a:pt x="5250960" y="4854300"/>
                  <a:pt x="5250960" y="4853220"/>
                  <a:pt x="5250960" y="4852140"/>
                </a:cubicBezTo>
                <a:cubicBezTo>
                  <a:pt x="5246643" y="4826228"/>
                  <a:pt x="5234772" y="4818670"/>
                  <a:pt x="5214269" y="4831626"/>
                </a:cubicBezTo>
                <a:cubicBezTo>
                  <a:pt x="5194844" y="4843503"/>
                  <a:pt x="5179736" y="4840264"/>
                  <a:pt x="5163548" y="4829467"/>
                </a:cubicBezTo>
                <a:cubicBezTo>
                  <a:pt x="5141965" y="4815431"/>
                  <a:pt x="5119303" y="4804634"/>
                  <a:pt x="5092324" y="4811112"/>
                </a:cubicBezTo>
                <a:cubicBezTo>
                  <a:pt x="5080453" y="4814351"/>
                  <a:pt x="5075057" y="4802474"/>
                  <a:pt x="5072899" y="4794916"/>
                </a:cubicBezTo>
                <a:cubicBezTo>
                  <a:pt x="5063187" y="4766844"/>
                  <a:pt x="5044841" y="4753888"/>
                  <a:pt x="5016783" y="4750649"/>
                </a:cubicBezTo>
                <a:cubicBezTo>
                  <a:pt x="4999517" y="4748489"/>
                  <a:pt x="4996279" y="4742011"/>
                  <a:pt x="5007071" y="4724736"/>
                </a:cubicBezTo>
                <a:cubicBezTo>
                  <a:pt x="5029733" y="4688026"/>
                  <a:pt x="5013546" y="4634041"/>
                  <a:pt x="4975775" y="4617845"/>
                </a:cubicBezTo>
                <a:cubicBezTo>
                  <a:pt x="4968221" y="4614606"/>
                  <a:pt x="4958509" y="4610288"/>
                  <a:pt x="4952034" y="4617845"/>
                </a:cubicBezTo>
                <a:cubicBezTo>
                  <a:pt x="4945559" y="4625403"/>
                  <a:pt x="4942321" y="4636200"/>
                  <a:pt x="4948796" y="4645918"/>
                </a:cubicBezTo>
                <a:cubicBezTo>
                  <a:pt x="4952034" y="4652396"/>
                  <a:pt x="4957430" y="4658874"/>
                  <a:pt x="4961746" y="4665352"/>
                </a:cubicBezTo>
                <a:cubicBezTo>
                  <a:pt x="4967142" y="4671830"/>
                  <a:pt x="4970379" y="4678309"/>
                  <a:pt x="4963904" y="4683708"/>
                </a:cubicBezTo>
                <a:cubicBezTo>
                  <a:pt x="4956350" y="4690186"/>
                  <a:pt x="4949875" y="4685867"/>
                  <a:pt x="4944480" y="4680468"/>
                </a:cubicBezTo>
                <a:cubicBezTo>
                  <a:pt x="4939084" y="4676149"/>
                  <a:pt x="4934767" y="4669671"/>
                  <a:pt x="4930451" y="4665352"/>
                </a:cubicBezTo>
                <a:cubicBezTo>
                  <a:pt x="4920738" y="4655635"/>
                  <a:pt x="4907788" y="4650236"/>
                  <a:pt x="4896997" y="4659954"/>
                </a:cubicBezTo>
                <a:cubicBezTo>
                  <a:pt x="4888363" y="4668591"/>
                  <a:pt x="4896997" y="4680468"/>
                  <a:pt x="4903472" y="4689106"/>
                </a:cubicBezTo>
                <a:cubicBezTo>
                  <a:pt x="4908867" y="4696664"/>
                  <a:pt x="4918580" y="4702062"/>
                  <a:pt x="4921817" y="4711780"/>
                </a:cubicBezTo>
                <a:cubicBezTo>
                  <a:pt x="4927213" y="4725816"/>
                  <a:pt x="4925055" y="4734453"/>
                  <a:pt x="4907788" y="4733374"/>
                </a:cubicBezTo>
                <a:cubicBezTo>
                  <a:pt x="4884047" y="4732294"/>
                  <a:pt x="4864622" y="4722577"/>
                  <a:pt x="4846276" y="4709620"/>
                </a:cubicBezTo>
                <a:cubicBezTo>
                  <a:pt x="4822535" y="4693425"/>
                  <a:pt x="4809585" y="4692345"/>
                  <a:pt x="4786923" y="4709620"/>
                </a:cubicBezTo>
                <a:cubicBezTo>
                  <a:pt x="4778290" y="4715019"/>
                  <a:pt x="4770736" y="4723656"/>
                  <a:pt x="4763181" y="4731214"/>
                </a:cubicBezTo>
                <a:cubicBezTo>
                  <a:pt x="4759944" y="4734453"/>
                  <a:pt x="4756706" y="4739852"/>
                  <a:pt x="4751311" y="4737692"/>
                </a:cubicBezTo>
                <a:cubicBezTo>
                  <a:pt x="4744836" y="4735533"/>
                  <a:pt x="4743756" y="4730135"/>
                  <a:pt x="4744836" y="4725816"/>
                </a:cubicBezTo>
                <a:cubicBezTo>
                  <a:pt x="4749152" y="4706381"/>
                  <a:pt x="4740519" y="4702062"/>
                  <a:pt x="4723252" y="4703142"/>
                </a:cubicBezTo>
                <a:cubicBezTo>
                  <a:pt x="4701669" y="4704222"/>
                  <a:pt x="4686561" y="4690186"/>
                  <a:pt x="4674690" y="4675069"/>
                </a:cubicBezTo>
                <a:cubicBezTo>
                  <a:pt x="4664978" y="4663193"/>
                  <a:pt x="4657424" y="4662113"/>
                  <a:pt x="4648790" y="4673990"/>
                </a:cubicBezTo>
                <a:cubicBezTo>
                  <a:pt x="4644474" y="4680468"/>
                  <a:pt x="4640157" y="4684787"/>
                  <a:pt x="4631524" y="4682628"/>
                </a:cubicBezTo>
                <a:cubicBezTo>
                  <a:pt x="4619653" y="4680468"/>
                  <a:pt x="4621811" y="4671830"/>
                  <a:pt x="4619653" y="4664272"/>
                </a:cubicBezTo>
                <a:cubicBezTo>
                  <a:pt x="4618574" y="4659954"/>
                  <a:pt x="4618574" y="4654555"/>
                  <a:pt x="4617495" y="4649157"/>
                </a:cubicBezTo>
                <a:cubicBezTo>
                  <a:pt x="4615067" y="4627293"/>
                  <a:pt x="4605354" y="4618183"/>
                  <a:pt x="4590179" y="4622282"/>
                </a:cubicBezTo>
                <a:lnTo>
                  <a:pt x="4586817" y="4623974"/>
                </a:lnTo>
                <a:lnTo>
                  <a:pt x="4584630" y="4635875"/>
                </a:lnTo>
                <a:cubicBezTo>
                  <a:pt x="4576236" y="4677803"/>
                  <a:pt x="4574566" y="4681277"/>
                  <a:pt x="4531541" y="4686274"/>
                </a:cubicBezTo>
                <a:cubicBezTo>
                  <a:pt x="4507873" y="4688806"/>
                  <a:pt x="4494629" y="4696343"/>
                  <a:pt x="4492463" y="4723091"/>
                </a:cubicBezTo>
                <a:cubicBezTo>
                  <a:pt x="4490612" y="4742510"/>
                  <a:pt x="4481880" y="4762900"/>
                  <a:pt x="4462206" y="4772694"/>
                </a:cubicBezTo>
                <a:cubicBezTo>
                  <a:pt x="4443818" y="4782036"/>
                  <a:pt x="4447044" y="4795342"/>
                  <a:pt x="4452007" y="4809481"/>
                </a:cubicBezTo>
                <a:cubicBezTo>
                  <a:pt x="4456970" y="4823620"/>
                  <a:pt x="4462768" y="4836023"/>
                  <a:pt x="4457827" y="4850751"/>
                </a:cubicBezTo>
                <a:cubicBezTo>
                  <a:pt x="4454555" y="4862006"/>
                  <a:pt x="4463241" y="4866176"/>
                  <a:pt x="4471025" y="4867775"/>
                </a:cubicBezTo>
                <a:cubicBezTo>
                  <a:pt x="4482667" y="4868020"/>
                  <a:pt x="4492572" y="4867431"/>
                  <a:pt x="4503311" y="4865104"/>
                </a:cubicBezTo>
                <a:cubicBezTo>
                  <a:pt x="4539907" y="4862365"/>
                  <a:pt x="4542095" y="4864484"/>
                  <a:pt x="4538327" y="4899014"/>
                </a:cubicBezTo>
                <a:cubicBezTo>
                  <a:pt x="4537311" y="4916696"/>
                  <a:pt x="4531535" y="4933161"/>
                  <a:pt x="4528782" y="4950009"/>
                </a:cubicBezTo>
                <a:cubicBezTo>
                  <a:pt x="4524359" y="4970331"/>
                  <a:pt x="4519936" y="4990652"/>
                  <a:pt x="4490855" y="4977760"/>
                </a:cubicBezTo>
                <a:cubicBezTo>
                  <a:pt x="4480882" y="4974042"/>
                  <a:pt x="4471948" y="4981510"/>
                  <a:pt x="4473436" y="4993981"/>
                </a:cubicBezTo>
                <a:cubicBezTo>
                  <a:pt x="4474542" y="5009475"/>
                  <a:pt x="4474812" y="5026705"/>
                  <a:pt x="4496877" y="5031953"/>
                </a:cubicBezTo>
                <a:cubicBezTo>
                  <a:pt x="4498163" y="5031502"/>
                  <a:pt x="4499449" y="5031051"/>
                  <a:pt x="4502473" y="5031433"/>
                </a:cubicBezTo>
                <a:cubicBezTo>
                  <a:pt x="4514114" y="5031678"/>
                  <a:pt x="4528961" y="5016360"/>
                  <a:pt x="4538301" y="5034738"/>
                </a:cubicBezTo>
                <a:cubicBezTo>
                  <a:pt x="4547190" y="5051831"/>
                  <a:pt x="4547911" y="5070346"/>
                  <a:pt x="4541751" y="5089834"/>
                </a:cubicBezTo>
                <a:cubicBezTo>
                  <a:pt x="4535524" y="5105014"/>
                  <a:pt x="4524085" y="5117692"/>
                  <a:pt x="4511743" y="5127799"/>
                </a:cubicBezTo>
                <a:cubicBezTo>
                  <a:pt x="4501522" y="5135718"/>
                  <a:pt x="4492520" y="5138878"/>
                  <a:pt x="4485820" y="5123905"/>
                </a:cubicBezTo>
                <a:cubicBezTo>
                  <a:pt x="4482729" y="5119215"/>
                  <a:pt x="4478352" y="5114976"/>
                  <a:pt x="4473208" y="5116782"/>
                </a:cubicBezTo>
                <a:cubicBezTo>
                  <a:pt x="4464206" y="5119942"/>
                  <a:pt x="4465175" y="5126821"/>
                  <a:pt x="4466980" y="5131962"/>
                </a:cubicBezTo>
                <a:cubicBezTo>
                  <a:pt x="4469304" y="5142697"/>
                  <a:pt x="4472462" y="5151694"/>
                  <a:pt x="4474335" y="5161144"/>
                </a:cubicBezTo>
                <a:cubicBezTo>
                  <a:pt x="4481306" y="5193347"/>
                  <a:pt x="4464790" y="5212139"/>
                  <a:pt x="4432436" y="5210502"/>
                </a:cubicBezTo>
                <a:cubicBezTo>
                  <a:pt x="4428127" y="5210571"/>
                  <a:pt x="4425104" y="5210188"/>
                  <a:pt x="4422080" y="5209806"/>
                </a:cubicBezTo>
                <a:cubicBezTo>
                  <a:pt x="4373257" y="5202400"/>
                  <a:pt x="4367278" y="5205942"/>
                  <a:pt x="4363328" y="5256417"/>
                </a:cubicBezTo>
                <a:cubicBezTo>
                  <a:pt x="4361478" y="5275836"/>
                  <a:pt x="4355634" y="5287993"/>
                  <a:pt x="4335441" y="5292194"/>
                </a:cubicBezTo>
                <a:cubicBezTo>
                  <a:pt x="4327273" y="5293617"/>
                  <a:pt x="4321294" y="5297160"/>
                  <a:pt x="4315316" y="5300702"/>
                </a:cubicBezTo>
                <a:cubicBezTo>
                  <a:pt x="4277186" y="5315531"/>
                  <a:pt x="4252570" y="5340053"/>
                  <a:pt x="4258458" y="5385631"/>
                </a:cubicBezTo>
                <a:cubicBezTo>
                  <a:pt x="4260014" y="5402410"/>
                  <a:pt x="4258998" y="5420092"/>
                  <a:pt x="4253222" y="5436557"/>
                </a:cubicBezTo>
                <a:cubicBezTo>
                  <a:pt x="4249950" y="5447812"/>
                  <a:pt x="4241467" y="5456565"/>
                  <a:pt x="4229825" y="5456320"/>
                </a:cubicBezTo>
                <a:cubicBezTo>
                  <a:pt x="4215611" y="5456978"/>
                  <a:pt x="4216694" y="5443604"/>
                  <a:pt x="4214822" y="5434155"/>
                </a:cubicBezTo>
                <a:cubicBezTo>
                  <a:pt x="4200113" y="5375792"/>
                  <a:pt x="4200113" y="5375792"/>
                  <a:pt x="4150160" y="5406321"/>
                </a:cubicBezTo>
                <a:cubicBezTo>
                  <a:pt x="4132223" y="5416948"/>
                  <a:pt x="4114670" y="5424554"/>
                  <a:pt x="4094026" y="5427469"/>
                </a:cubicBezTo>
                <a:cubicBezTo>
                  <a:pt x="4072931" y="5429099"/>
                  <a:pt x="4056144" y="5430660"/>
                  <a:pt x="4039855" y="5408946"/>
                </a:cubicBezTo>
                <a:cubicBezTo>
                  <a:pt x="4014812" y="5378755"/>
                  <a:pt x="3962333" y="5385626"/>
                  <a:pt x="3927948" y="5419353"/>
                </a:cubicBezTo>
                <a:cubicBezTo>
                  <a:pt x="3922421" y="5424181"/>
                  <a:pt x="3918630" y="5429843"/>
                  <a:pt x="3912268" y="5436408"/>
                </a:cubicBezTo>
                <a:cubicBezTo>
                  <a:pt x="3896746" y="5408649"/>
                  <a:pt x="3879554" y="5384365"/>
                  <a:pt x="3845463" y="5381894"/>
                </a:cubicBezTo>
                <a:cubicBezTo>
                  <a:pt x="3814396" y="5379805"/>
                  <a:pt x="3790931" y="5395261"/>
                  <a:pt x="3765729" y="5409883"/>
                </a:cubicBezTo>
                <a:cubicBezTo>
                  <a:pt x="3760450" y="5403073"/>
                  <a:pt x="3764691" y="5398697"/>
                  <a:pt x="3765910" y="5393938"/>
                </a:cubicBezTo>
                <a:cubicBezTo>
                  <a:pt x="3781704" y="5356630"/>
                  <a:pt x="3760136" y="5328107"/>
                  <a:pt x="3718780" y="5329630"/>
                </a:cubicBezTo>
                <a:cubicBezTo>
                  <a:pt x="3676138" y="5331605"/>
                  <a:pt x="3676138" y="5331605"/>
                  <a:pt x="3675462" y="5288528"/>
                </a:cubicBezTo>
                <a:cubicBezTo>
                  <a:pt x="3674989" y="5258375"/>
                  <a:pt x="3649630" y="5235514"/>
                  <a:pt x="3619984" y="5241589"/>
                </a:cubicBezTo>
                <a:cubicBezTo>
                  <a:pt x="3604935" y="5243984"/>
                  <a:pt x="3608161" y="5257289"/>
                  <a:pt x="3608747" y="5267190"/>
                </a:cubicBezTo>
                <a:cubicBezTo>
                  <a:pt x="3610304" y="5283969"/>
                  <a:pt x="3614048" y="5302867"/>
                  <a:pt x="3596563" y="5314780"/>
                </a:cubicBezTo>
                <a:cubicBezTo>
                  <a:pt x="3584605" y="5321866"/>
                  <a:pt x="3576054" y="5326311"/>
                  <a:pt x="3574430" y="5305224"/>
                </a:cubicBezTo>
                <a:cubicBezTo>
                  <a:pt x="3568858" y="5252317"/>
                  <a:pt x="3550132" y="5240121"/>
                  <a:pt x="3499909" y="5253419"/>
                </a:cubicBezTo>
                <a:cubicBezTo>
                  <a:pt x="3436375" y="5269946"/>
                  <a:pt x="3375977" y="5266603"/>
                  <a:pt x="3315692" y="5243008"/>
                </a:cubicBezTo>
                <a:cubicBezTo>
                  <a:pt x="3285324" y="5230567"/>
                  <a:pt x="3255024" y="5222434"/>
                  <a:pt x="3221835" y="5222534"/>
                </a:cubicBezTo>
                <a:cubicBezTo>
                  <a:pt x="3204598" y="5222810"/>
                  <a:pt x="3190452" y="5227776"/>
                  <a:pt x="3181652" y="5243858"/>
                </a:cubicBezTo>
                <a:cubicBezTo>
                  <a:pt x="3173687" y="5258205"/>
                  <a:pt x="3161797" y="5269597"/>
                  <a:pt x="3144425" y="5261258"/>
                </a:cubicBezTo>
                <a:cubicBezTo>
                  <a:pt x="3126601" y="5251633"/>
                  <a:pt x="3137138" y="5236384"/>
                  <a:pt x="3142147" y="5225963"/>
                </a:cubicBezTo>
                <a:cubicBezTo>
                  <a:pt x="3154669" y="5199910"/>
                  <a:pt x="3149638" y="5181464"/>
                  <a:pt x="3132063" y="5160201"/>
                </a:cubicBezTo>
                <a:cubicBezTo>
                  <a:pt x="3063049" y="5074700"/>
                  <a:pt x="3023997" y="4975794"/>
                  <a:pt x="2992209" y="4872894"/>
                </a:cubicBezTo>
                <a:cubicBezTo>
                  <a:pt x="2975447" y="4821027"/>
                  <a:pt x="2975447" y="4821027"/>
                  <a:pt x="2922382" y="4817997"/>
                </a:cubicBezTo>
                <a:cubicBezTo>
                  <a:pt x="2874077" y="4816185"/>
                  <a:pt x="2874077" y="4816185"/>
                  <a:pt x="2852371" y="4861342"/>
                </a:cubicBezTo>
                <a:cubicBezTo>
                  <a:pt x="2837344" y="4892605"/>
                  <a:pt x="2822769" y="4925153"/>
                  <a:pt x="2799055" y="4952246"/>
                </a:cubicBezTo>
                <a:cubicBezTo>
                  <a:pt x="2786330" y="4965376"/>
                  <a:pt x="2772319" y="4978957"/>
                  <a:pt x="2750389" y="4982323"/>
                </a:cubicBezTo>
                <a:cubicBezTo>
                  <a:pt x="2748832" y="4965544"/>
                  <a:pt x="2755511" y="4951650"/>
                  <a:pt x="2759166" y="4937373"/>
                </a:cubicBezTo>
                <a:cubicBezTo>
                  <a:pt x="2766477" y="4908818"/>
                  <a:pt x="2768193" y="4880785"/>
                  <a:pt x="2758717" y="4853791"/>
                </a:cubicBezTo>
                <a:cubicBezTo>
                  <a:pt x="2754589" y="4837915"/>
                  <a:pt x="2758831" y="4833539"/>
                  <a:pt x="2773428" y="4829858"/>
                </a:cubicBezTo>
                <a:cubicBezTo>
                  <a:pt x="2788026" y="4826178"/>
                  <a:pt x="2803458" y="4820761"/>
                  <a:pt x="2813611" y="4808534"/>
                </a:cubicBezTo>
                <a:cubicBezTo>
                  <a:pt x="2819072" y="4799399"/>
                  <a:pt x="2822795" y="4789429"/>
                  <a:pt x="2820922" y="4779980"/>
                </a:cubicBezTo>
                <a:cubicBezTo>
                  <a:pt x="2816861" y="4768411"/>
                  <a:pt x="2805287" y="4772474"/>
                  <a:pt x="2796668" y="4772612"/>
                </a:cubicBezTo>
                <a:cubicBezTo>
                  <a:pt x="2738910" y="4772674"/>
                  <a:pt x="2681603" y="4774021"/>
                  <a:pt x="2622107" y="4773249"/>
                </a:cubicBezTo>
                <a:lnTo>
                  <a:pt x="2591932" y="4771776"/>
                </a:lnTo>
                <a:lnTo>
                  <a:pt x="2581363" y="4784316"/>
                </a:lnTo>
                <a:cubicBezTo>
                  <a:pt x="2571376" y="4791016"/>
                  <a:pt x="2557281" y="4791697"/>
                  <a:pt x="2533973" y="4788867"/>
                </a:cubicBezTo>
                <a:cubicBezTo>
                  <a:pt x="2506747" y="4786794"/>
                  <a:pt x="2502347" y="4789267"/>
                  <a:pt x="2494641" y="4816770"/>
                </a:cubicBezTo>
                <a:cubicBezTo>
                  <a:pt x="2487900" y="4840836"/>
                  <a:pt x="2498074" y="4864084"/>
                  <a:pt x="2502607" y="4887605"/>
                </a:cubicBezTo>
                <a:cubicBezTo>
                  <a:pt x="2510439" y="4932445"/>
                  <a:pt x="2523908" y="4977012"/>
                  <a:pt x="2530777" y="5025291"/>
                </a:cubicBezTo>
                <a:cubicBezTo>
                  <a:pt x="2534074" y="5046611"/>
                  <a:pt x="2534207" y="5072605"/>
                  <a:pt x="2526229" y="5094470"/>
                </a:cubicBezTo>
                <a:cubicBezTo>
                  <a:pt x="2521688" y="5117298"/>
                  <a:pt x="2507797" y="5133797"/>
                  <a:pt x="2476444" y="5139834"/>
                </a:cubicBezTo>
                <a:cubicBezTo>
                  <a:pt x="2488275" y="5104218"/>
                  <a:pt x="2448950" y="5085771"/>
                  <a:pt x="2456379" y="5052626"/>
                </a:cubicBezTo>
                <a:cubicBezTo>
                  <a:pt x="2435621" y="5020847"/>
                  <a:pt x="2438376" y="4984539"/>
                  <a:pt x="2428893" y="4952213"/>
                </a:cubicBezTo>
                <a:cubicBezTo>
                  <a:pt x="2417209" y="4921126"/>
                  <a:pt x="2408687" y="4885362"/>
                  <a:pt x="2404842" y="4852765"/>
                </a:cubicBezTo>
                <a:cubicBezTo>
                  <a:pt x="2399900" y="4797610"/>
                  <a:pt x="2345447" y="4793459"/>
                  <a:pt x="2313953" y="4819852"/>
                </a:cubicBezTo>
                <a:cubicBezTo>
                  <a:pt x="2307352" y="4823562"/>
                  <a:pt x="2305426" y="4830439"/>
                  <a:pt x="2305700" y="4836077"/>
                </a:cubicBezTo>
                <a:cubicBezTo>
                  <a:pt x="2303773" y="4842953"/>
                  <a:pt x="2307486" y="4849557"/>
                  <a:pt x="2307760" y="4855197"/>
                </a:cubicBezTo>
                <a:cubicBezTo>
                  <a:pt x="2301982" y="4875825"/>
                  <a:pt x="2291528" y="4893287"/>
                  <a:pt x="2273652" y="4897541"/>
                </a:cubicBezTo>
                <a:cubicBezTo>
                  <a:pt x="2253574" y="4903035"/>
                  <a:pt x="2241475" y="4886661"/>
                  <a:pt x="2229651" y="4875929"/>
                </a:cubicBezTo>
                <a:cubicBezTo>
                  <a:pt x="2223740" y="4870562"/>
                  <a:pt x="2222228" y="4862722"/>
                  <a:pt x="2219754" y="4858320"/>
                </a:cubicBezTo>
                <a:cubicBezTo>
                  <a:pt x="2192808" y="4815533"/>
                  <a:pt x="2150045" y="4796122"/>
                  <a:pt x="2105490" y="4809581"/>
                </a:cubicBezTo>
                <a:cubicBezTo>
                  <a:pt x="2095451" y="4812326"/>
                  <a:pt x="2084449" y="4818511"/>
                  <a:pt x="2075923" y="4829098"/>
                </a:cubicBezTo>
                <a:cubicBezTo>
                  <a:pt x="2054741" y="4858383"/>
                  <a:pt x="2019261" y="4872533"/>
                  <a:pt x="1995879" y="4903056"/>
                </a:cubicBezTo>
                <a:cubicBezTo>
                  <a:pt x="1992718" y="4907729"/>
                  <a:pt x="1978003" y="4907311"/>
                  <a:pt x="1971127" y="4905382"/>
                </a:cubicBezTo>
                <a:cubicBezTo>
                  <a:pt x="1957377" y="4901526"/>
                  <a:pt x="1943627" y="4897668"/>
                  <a:pt x="1929602" y="4888172"/>
                </a:cubicBezTo>
                <a:cubicBezTo>
                  <a:pt x="1917777" y="4877438"/>
                  <a:pt x="1908976" y="4882386"/>
                  <a:pt x="1900724" y="4898612"/>
                </a:cubicBezTo>
                <a:cubicBezTo>
                  <a:pt x="1899761" y="4902049"/>
                  <a:pt x="1900035" y="4907689"/>
                  <a:pt x="1896871" y="4912363"/>
                </a:cubicBezTo>
                <a:cubicBezTo>
                  <a:pt x="1891507" y="4918275"/>
                  <a:pt x="1883944" y="4925423"/>
                  <a:pt x="1877068" y="4923495"/>
                </a:cubicBezTo>
                <a:cubicBezTo>
                  <a:pt x="1865518" y="4918402"/>
                  <a:pt x="1869644" y="4910289"/>
                  <a:pt x="1870333" y="4901212"/>
                </a:cubicBezTo>
                <a:cubicBezTo>
                  <a:pt x="1875838" y="4874945"/>
                  <a:pt x="1893855" y="4850334"/>
                  <a:pt x="1885608" y="4820209"/>
                </a:cubicBezTo>
                <a:cubicBezTo>
                  <a:pt x="1882860" y="4810168"/>
                  <a:pt x="1874473" y="4800399"/>
                  <a:pt x="1867872" y="4804109"/>
                </a:cubicBezTo>
                <a:cubicBezTo>
                  <a:pt x="1856871" y="4810294"/>
                  <a:pt x="1844630" y="4814276"/>
                  <a:pt x="1837342" y="4827064"/>
                </a:cubicBezTo>
                <a:cubicBezTo>
                  <a:pt x="1832253" y="4838614"/>
                  <a:pt x="1815886" y="4850711"/>
                  <a:pt x="1799662" y="4842451"/>
                </a:cubicBezTo>
                <a:cubicBezTo>
                  <a:pt x="1782199" y="4831991"/>
                  <a:pt x="1762537" y="4822766"/>
                  <a:pt x="1758003" y="4799247"/>
                </a:cubicBezTo>
                <a:cubicBezTo>
                  <a:pt x="1758965" y="4795808"/>
                  <a:pt x="1769967" y="4789623"/>
                  <a:pt x="1769692" y="4783984"/>
                </a:cubicBezTo>
                <a:cubicBezTo>
                  <a:pt x="1765706" y="4771742"/>
                  <a:pt x="1760484" y="4757298"/>
                  <a:pt x="1743295" y="4752477"/>
                </a:cubicBezTo>
                <a:cubicBezTo>
                  <a:pt x="1699843" y="4742143"/>
                  <a:pt x="1659281" y="4721494"/>
                  <a:pt x="1616518" y="4702082"/>
                </a:cubicBezTo>
                <a:cubicBezTo>
                  <a:pt x="1589980" y="4690930"/>
                  <a:pt x="1563302" y="4700133"/>
                  <a:pt x="1541847" y="4723780"/>
                </a:cubicBezTo>
                <a:cubicBezTo>
                  <a:pt x="1515028" y="4753336"/>
                  <a:pt x="1513791" y="4751137"/>
                  <a:pt x="1482305" y="4731179"/>
                </a:cubicBezTo>
                <a:cubicBezTo>
                  <a:pt x="1468280" y="4721683"/>
                  <a:pt x="1460166" y="4717553"/>
                  <a:pt x="1473783" y="4695417"/>
                </a:cubicBezTo>
                <a:cubicBezTo>
                  <a:pt x="1493726" y="4663929"/>
                  <a:pt x="1488645" y="4629131"/>
                  <a:pt x="1468846" y="4593913"/>
                </a:cubicBezTo>
                <a:cubicBezTo>
                  <a:pt x="1444102" y="4549890"/>
                  <a:pt x="1408904" y="4523329"/>
                  <a:pt x="1363940" y="4505154"/>
                </a:cubicBezTo>
                <a:cubicBezTo>
                  <a:pt x="1355828" y="4501025"/>
                  <a:pt x="1348953" y="4499096"/>
                  <a:pt x="1341662" y="4511882"/>
                </a:cubicBezTo>
                <a:cubicBezTo>
                  <a:pt x="1330247" y="4532784"/>
                  <a:pt x="1307968" y="4539514"/>
                  <a:pt x="1289128" y="4547206"/>
                </a:cubicBezTo>
                <a:cubicBezTo>
                  <a:pt x="1263686" y="4558610"/>
                  <a:pt x="1224087" y="4534523"/>
                  <a:pt x="1221480" y="4504127"/>
                </a:cubicBezTo>
                <a:cubicBezTo>
                  <a:pt x="1218870" y="4473732"/>
                  <a:pt x="1214062" y="4444570"/>
                  <a:pt x="1220530" y="4414866"/>
                </a:cubicBezTo>
                <a:cubicBezTo>
                  <a:pt x="1223419" y="4404551"/>
                  <a:pt x="1225345" y="4397676"/>
                  <a:pt x="1239097" y="4401534"/>
                </a:cubicBezTo>
                <a:cubicBezTo>
                  <a:pt x="1249407" y="4404427"/>
                  <a:pt x="1253261" y="4390675"/>
                  <a:pt x="1251750" y="4382834"/>
                </a:cubicBezTo>
                <a:cubicBezTo>
                  <a:pt x="1251202" y="4371557"/>
                  <a:pt x="1255052" y="4357804"/>
                  <a:pt x="1254504" y="4346526"/>
                </a:cubicBezTo>
                <a:cubicBezTo>
                  <a:pt x="1251755" y="4336486"/>
                  <a:pt x="1238969" y="4329190"/>
                  <a:pt x="1230581" y="4319421"/>
                </a:cubicBezTo>
                <a:cubicBezTo>
                  <a:pt x="1216765" y="4302566"/>
                  <a:pt x="1202948" y="4285711"/>
                  <a:pt x="1186758" y="4272364"/>
                </a:cubicBezTo>
                <a:lnTo>
                  <a:pt x="1175214" y="4264939"/>
                </a:lnTo>
                <a:lnTo>
                  <a:pt x="1161833" y="4266023"/>
                </a:lnTo>
                <a:cubicBezTo>
                  <a:pt x="1154415" y="4265067"/>
                  <a:pt x="1147356" y="4262915"/>
                  <a:pt x="1140837" y="4258967"/>
                </a:cubicBezTo>
                <a:lnTo>
                  <a:pt x="1128185" y="4246273"/>
                </a:lnTo>
                <a:lnTo>
                  <a:pt x="1114189" y="4244360"/>
                </a:lnTo>
                <a:cubicBezTo>
                  <a:pt x="1109687" y="4244719"/>
                  <a:pt x="1105528" y="4246333"/>
                  <a:pt x="1101745" y="4249907"/>
                </a:cubicBezTo>
                <a:cubicBezTo>
                  <a:pt x="1097344" y="4252381"/>
                  <a:pt x="1093356" y="4251725"/>
                  <a:pt x="1089334" y="4250366"/>
                </a:cubicBezTo>
                <a:lnTo>
                  <a:pt x="1081819" y="4248119"/>
                </a:lnTo>
                <a:lnTo>
                  <a:pt x="1066120" y="4264125"/>
                </a:lnTo>
                <a:cubicBezTo>
                  <a:pt x="1059898" y="4273698"/>
                  <a:pt x="1055110" y="4284226"/>
                  <a:pt x="1050323" y="4294755"/>
                </a:cubicBezTo>
                <a:cubicBezTo>
                  <a:pt x="1036917" y="4327300"/>
                  <a:pt x="1015857" y="4348360"/>
                  <a:pt x="983313" y="4357938"/>
                </a:cubicBezTo>
                <a:cubicBezTo>
                  <a:pt x="975658" y="4350281"/>
                  <a:pt x="968002" y="4342625"/>
                  <a:pt x="960346" y="4334969"/>
                </a:cubicBezTo>
                <a:cubicBezTo>
                  <a:pt x="971834" y="4319654"/>
                  <a:pt x="985236" y="4306251"/>
                  <a:pt x="1002467" y="4292849"/>
                </a:cubicBezTo>
                <a:cubicBezTo>
                  <a:pt x="1013954" y="4281362"/>
                  <a:pt x="1027355" y="4271788"/>
                  <a:pt x="1033100" y="4258387"/>
                </a:cubicBezTo>
                <a:cubicBezTo>
                  <a:pt x="1065652" y="4210525"/>
                  <a:pt x="1052257" y="4177986"/>
                  <a:pt x="998661" y="4158853"/>
                </a:cubicBezTo>
                <a:cubicBezTo>
                  <a:pt x="958462" y="4149287"/>
                  <a:pt x="954636" y="4141631"/>
                  <a:pt x="956556" y="4105261"/>
                </a:cubicBezTo>
                <a:cubicBezTo>
                  <a:pt x="960392" y="4063146"/>
                  <a:pt x="946994" y="4049748"/>
                  <a:pt x="904879" y="4057413"/>
                </a:cubicBezTo>
                <a:cubicBezTo>
                  <a:pt x="899136" y="4059328"/>
                  <a:pt x="891479" y="4063158"/>
                  <a:pt x="885736" y="4065073"/>
                </a:cubicBezTo>
                <a:cubicBezTo>
                  <a:pt x="843619" y="4080393"/>
                  <a:pt x="822567" y="4059341"/>
                  <a:pt x="818745" y="4013399"/>
                </a:cubicBezTo>
                <a:cubicBezTo>
                  <a:pt x="820662" y="4000000"/>
                  <a:pt x="822578" y="3986599"/>
                  <a:pt x="826409" y="3971284"/>
                </a:cubicBezTo>
                <a:cubicBezTo>
                  <a:pt x="834075" y="3917683"/>
                  <a:pt x="847483" y="3865997"/>
                  <a:pt x="870463" y="3816223"/>
                </a:cubicBezTo>
                <a:cubicBezTo>
                  <a:pt x="887698" y="3779849"/>
                  <a:pt x="883874" y="3753050"/>
                  <a:pt x="849420" y="3733913"/>
                </a:cubicBezTo>
                <a:cubicBezTo>
                  <a:pt x="845592" y="3730085"/>
                  <a:pt x="841764" y="3726257"/>
                  <a:pt x="837936" y="3722429"/>
                </a:cubicBezTo>
                <a:cubicBezTo>
                  <a:pt x="820712" y="3697547"/>
                  <a:pt x="820715" y="3682233"/>
                  <a:pt x="847517" y="3670743"/>
                </a:cubicBezTo>
                <a:lnTo>
                  <a:pt x="871187" y="3654468"/>
                </a:lnTo>
                <a:lnTo>
                  <a:pt x="862921" y="3655033"/>
                </a:lnTo>
                <a:lnTo>
                  <a:pt x="865726" y="3649731"/>
                </a:lnTo>
                <a:cubicBezTo>
                  <a:pt x="872742" y="3631304"/>
                  <a:pt x="907125" y="3594598"/>
                  <a:pt x="920326" y="3587177"/>
                </a:cubicBezTo>
                <a:lnTo>
                  <a:pt x="925490" y="3584399"/>
                </a:lnTo>
                <a:lnTo>
                  <a:pt x="928649" y="3574777"/>
                </a:lnTo>
                <a:cubicBezTo>
                  <a:pt x="929489" y="3567001"/>
                  <a:pt x="928593" y="3559165"/>
                  <a:pt x="925932" y="3550999"/>
                </a:cubicBezTo>
                <a:lnTo>
                  <a:pt x="917654" y="3534979"/>
                </a:lnTo>
                <a:lnTo>
                  <a:pt x="912238" y="3534153"/>
                </a:lnTo>
                <a:cubicBezTo>
                  <a:pt x="905209" y="3531949"/>
                  <a:pt x="898814" y="3528302"/>
                  <a:pt x="892558" y="3527474"/>
                </a:cubicBezTo>
                <a:cubicBezTo>
                  <a:pt x="879637" y="3494184"/>
                  <a:pt x="853232" y="3509027"/>
                  <a:pt x="830681" y="3510117"/>
                </a:cubicBezTo>
                <a:cubicBezTo>
                  <a:pt x="759587" y="3512423"/>
                  <a:pt x="693717" y="3529172"/>
                  <a:pt x="626610" y="3543722"/>
                </a:cubicBezTo>
                <a:cubicBezTo>
                  <a:pt x="613133" y="3545504"/>
                  <a:pt x="597458" y="3548522"/>
                  <a:pt x="581781" y="3551541"/>
                </a:cubicBezTo>
                <a:cubicBezTo>
                  <a:pt x="560466" y="3554832"/>
                  <a:pt x="538189" y="3561561"/>
                  <a:pt x="534885" y="3586592"/>
                </a:cubicBezTo>
                <a:cubicBezTo>
                  <a:pt x="531032" y="3600343"/>
                  <a:pt x="518793" y="3604326"/>
                  <a:pt x="508756" y="3607073"/>
                </a:cubicBezTo>
                <a:cubicBezTo>
                  <a:pt x="497754" y="3613256"/>
                  <a:pt x="482766" y="3607199"/>
                  <a:pt x="473000" y="3615583"/>
                </a:cubicBezTo>
                <a:cubicBezTo>
                  <a:pt x="468600" y="3618056"/>
                  <a:pt x="454850" y="3614200"/>
                  <a:pt x="451138" y="3607596"/>
                </a:cubicBezTo>
                <a:cubicBezTo>
                  <a:pt x="431341" y="3583966"/>
                  <a:pt x="418198" y="3540301"/>
                  <a:pt x="426615" y="3498773"/>
                </a:cubicBezTo>
                <a:lnTo>
                  <a:pt x="434951" y="3478138"/>
                </a:lnTo>
                <a:lnTo>
                  <a:pt x="0" y="347813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095">
                <a:latin typeface="+mn-lt"/>
                <a:cs typeface="Arial" panose="020B0604020202020204" pitchFamily="34" charset="0"/>
              </a:defRPr>
            </a:lvl1pPr>
            <a:lvl2pPr marL="278765" indent="0">
              <a:buNone/>
              <a:defRPr sz="1705"/>
            </a:lvl2pPr>
            <a:lvl3pPr marL="557530" indent="0">
              <a:buNone/>
              <a:defRPr sz="1465"/>
            </a:lvl3pPr>
            <a:lvl4pPr marL="835660" indent="0">
              <a:buNone/>
              <a:defRPr sz="1220"/>
            </a:lvl4pPr>
            <a:lvl5pPr marL="1114425" indent="0">
              <a:buNone/>
              <a:defRPr sz="1220"/>
            </a:lvl5pPr>
            <a:lvl6pPr marL="1393190" indent="0">
              <a:buNone/>
              <a:defRPr sz="1220"/>
            </a:lvl6pPr>
            <a:lvl7pPr marL="1671955" indent="0">
              <a:buNone/>
              <a:defRPr sz="1220"/>
            </a:lvl7pPr>
            <a:lvl8pPr marL="1950085" indent="0">
              <a:buNone/>
              <a:defRPr sz="1220"/>
            </a:lvl8pPr>
            <a:lvl9pPr marL="2228850" indent="0">
              <a:buNone/>
              <a:defRPr sz="1220"/>
            </a:lvl9pPr>
          </a:lstStyle>
          <a:p>
            <a:r>
              <a:rPr lang="en-US" altLang="ko-KR" dirty="0"/>
              <a:t>Your Picture Here And Send To Back</a:t>
            </a:r>
            <a:endParaRPr lang="ko-KR" altLang="en-US" dirty="0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"/>
            <a:ext cx="12192003" cy="376034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556895" rtl="0" eaLnBrk="1" fontAlgn="auto" latinLnBrk="1" hangingPunct="1">
              <a:lnSpc>
                <a:spcPct val="90000"/>
              </a:lnSpc>
              <a:spcBef>
                <a:spcPts val="610"/>
              </a:spcBef>
              <a:spcAft>
                <a:spcPts val="0"/>
              </a:spcAft>
              <a:buClrTx/>
              <a:buSzTx/>
              <a:buFontTx/>
              <a:buNone/>
              <a:defRPr sz="1095"/>
            </a:lvl1pPr>
          </a:lstStyle>
          <a:p>
            <a:r>
              <a:rPr lang="en-US" altLang="ko-KR" dirty="0"/>
              <a:t>Your Picture Here And Send To Back</a:t>
            </a:r>
            <a:endParaRPr lang="ko-KR" altLang="en-US" dirty="0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그림 개체 틀 2"/>
          <p:cNvSpPr>
            <a:spLocks noGrp="1"/>
          </p:cNvSpPr>
          <p:nvPr>
            <p:ph type="pic" sz="quarter" idx="14" hasCustomPrompt="1"/>
          </p:nvPr>
        </p:nvSpPr>
        <p:spPr>
          <a:xfrm>
            <a:off x="3934983" y="0"/>
            <a:ext cx="4322036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>
            <a:lvl1pPr marL="0" marR="0" indent="0" algn="ctr" defTabSz="556895" rtl="0" eaLnBrk="1" fontAlgn="auto" latinLnBrk="0" hangingPunct="1">
              <a:lnSpc>
                <a:spcPct val="90000"/>
              </a:lnSpc>
              <a:spcBef>
                <a:spcPts val="61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ko-KR" altLang="en-US" sz="1095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marR="0" lvl="0" indent="0" algn="ctr" defTabSz="556895" rtl="0" eaLnBrk="1" fontAlgn="auto" latinLnBrk="0" hangingPunct="1">
              <a:lnSpc>
                <a:spcPct val="90000"/>
              </a:lnSpc>
              <a:spcBef>
                <a:spcPts val="61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ko-KR" dirty="0"/>
              <a:t>Place Your Picture Here Send To Back</a:t>
            </a:r>
            <a:endParaRPr lang="ko-KR" altLang="en-US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/>
          <p:cNvSpPr>
            <a:spLocks noGrp="1"/>
          </p:cNvSpPr>
          <p:nvPr>
            <p:ph type="pic" sz="quarter" idx="14" hasCustomPrompt="1"/>
          </p:nvPr>
        </p:nvSpPr>
        <p:spPr>
          <a:xfrm>
            <a:off x="815008" y="564049"/>
            <a:ext cx="6624019" cy="5729909"/>
          </a:xfrm>
          <a:custGeom>
            <a:avLst/>
            <a:gdLst>
              <a:gd name="connsiteX0" fmla="*/ 1832943 w 6624018"/>
              <a:gd name="connsiteY0" fmla="*/ 4748834 h 5729909"/>
              <a:gd name="connsiteX1" fmla="*/ 6624018 w 6624018"/>
              <a:gd name="connsiteY1" fmla="*/ 4748834 h 5729909"/>
              <a:gd name="connsiteX2" fmla="*/ 6624018 w 6624018"/>
              <a:gd name="connsiteY2" fmla="*/ 5729909 h 5729909"/>
              <a:gd name="connsiteX3" fmla="*/ 1832943 w 6624018"/>
              <a:gd name="connsiteY3" fmla="*/ 5729909 h 5729909"/>
              <a:gd name="connsiteX4" fmla="*/ 1841224 w 6624018"/>
              <a:gd name="connsiteY4" fmla="*/ 2822714 h 5729909"/>
              <a:gd name="connsiteX5" fmla="*/ 3091438 w 6624018"/>
              <a:gd name="connsiteY5" fmla="*/ 2822714 h 5729909"/>
              <a:gd name="connsiteX6" fmla="*/ 3091438 w 6624018"/>
              <a:gd name="connsiteY6" fmla="*/ 4611758 h 5729909"/>
              <a:gd name="connsiteX7" fmla="*/ 1841224 w 6624018"/>
              <a:gd name="connsiteY7" fmla="*/ 4611758 h 5729909"/>
              <a:gd name="connsiteX8" fmla="*/ 0 w 6624018"/>
              <a:gd name="connsiteY8" fmla="*/ 2822714 h 5729909"/>
              <a:gd name="connsiteX9" fmla="*/ 1690847 w 6624018"/>
              <a:gd name="connsiteY9" fmla="*/ 2822714 h 5729909"/>
              <a:gd name="connsiteX10" fmla="*/ 1690847 w 6624018"/>
              <a:gd name="connsiteY10" fmla="*/ 4949686 h 5729909"/>
              <a:gd name="connsiteX11" fmla="*/ 0 w 6624018"/>
              <a:gd name="connsiteY11" fmla="*/ 4949686 h 5729909"/>
              <a:gd name="connsiteX12" fmla="*/ 3241814 w 6624018"/>
              <a:gd name="connsiteY12" fmla="*/ 1928192 h 5729909"/>
              <a:gd name="connsiteX13" fmla="*/ 6042992 w 6624018"/>
              <a:gd name="connsiteY13" fmla="*/ 1928192 h 5729909"/>
              <a:gd name="connsiteX14" fmla="*/ 6042992 w 6624018"/>
              <a:gd name="connsiteY14" fmla="*/ 4611758 h 5729909"/>
              <a:gd name="connsiteX15" fmla="*/ 3241814 w 6624018"/>
              <a:gd name="connsiteY15" fmla="*/ 4611758 h 5729909"/>
              <a:gd name="connsiteX16" fmla="*/ 290259 w 6624018"/>
              <a:gd name="connsiteY16" fmla="*/ 894522 h 5729909"/>
              <a:gd name="connsiteX17" fmla="*/ 3091436 w 6624018"/>
              <a:gd name="connsiteY17" fmla="*/ 894522 h 5729909"/>
              <a:gd name="connsiteX18" fmla="*/ 3091436 w 6624018"/>
              <a:gd name="connsiteY18" fmla="*/ 2683566 h 5729909"/>
              <a:gd name="connsiteX19" fmla="*/ 290259 w 6624018"/>
              <a:gd name="connsiteY19" fmla="*/ 2683566 h 5729909"/>
              <a:gd name="connsiteX20" fmla="*/ 3241813 w 6624018"/>
              <a:gd name="connsiteY20" fmla="*/ 0 h 5729909"/>
              <a:gd name="connsiteX21" fmla="*/ 4979872 w 6624018"/>
              <a:gd name="connsiteY21" fmla="*/ 0 h 5729909"/>
              <a:gd name="connsiteX22" fmla="*/ 4979872 w 6624018"/>
              <a:gd name="connsiteY22" fmla="*/ 1789044 h 5729909"/>
              <a:gd name="connsiteX23" fmla="*/ 3241813 w 6624018"/>
              <a:gd name="connsiteY23" fmla="*/ 1789044 h 5729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624018" h="5729909">
                <a:moveTo>
                  <a:pt x="1832943" y="4748834"/>
                </a:moveTo>
                <a:lnTo>
                  <a:pt x="6624018" y="4748834"/>
                </a:lnTo>
                <a:lnTo>
                  <a:pt x="6624018" y="5729909"/>
                </a:lnTo>
                <a:lnTo>
                  <a:pt x="1832943" y="5729909"/>
                </a:lnTo>
                <a:close/>
                <a:moveTo>
                  <a:pt x="1841224" y="2822714"/>
                </a:moveTo>
                <a:lnTo>
                  <a:pt x="3091438" y="2822714"/>
                </a:lnTo>
                <a:lnTo>
                  <a:pt x="3091438" y="4611758"/>
                </a:lnTo>
                <a:lnTo>
                  <a:pt x="1841224" y="4611758"/>
                </a:lnTo>
                <a:close/>
                <a:moveTo>
                  <a:pt x="0" y="2822714"/>
                </a:moveTo>
                <a:lnTo>
                  <a:pt x="1690847" y="2822714"/>
                </a:lnTo>
                <a:lnTo>
                  <a:pt x="1690847" y="4949686"/>
                </a:lnTo>
                <a:lnTo>
                  <a:pt x="0" y="4949686"/>
                </a:lnTo>
                <a:close/>
                <a:moveTo>
                  <a:pt x="3241814" y="1928192"/>
                </a:moveTo>
                <a:lnTo>
                  <a:pt x="6042992" y="1928192"/>
                </a:lnTo>
                <a:lnTo>
                  <a:pt x="6042992" y="4611758"/>
                </a:lnTo>
                <a:lnTo>
                  <a:pt x="3241814" y="4611758"/>
                </a:lnTo>
                <a:close/>
                <a:moveTo>
                  <a:pt x="290259" y="894522"/>
                </a:moveTo>
                <a:lnTo>
                  <a:pt x="3091436" y="894522"/>
                </a:lnTo>
                <a:lnTo>
                  <a:pt x="3091436" y="2683566"/>
                </a:lnTo>
                <a:lnTo>
                  <a:pt x="290259" y="2683566"/>
                </a:lnTo>
                <a:close/>
                <a:moveTo>
                  <a:pt x="3241813" y="0"/>
                </a:moveTo>
                <a:lnTo>
                  <a:pt x="4979872" y="0"/>
                </a:lnTo>
                <a:lnTo>
                  <a:pt x="4979872" y="1789044"/>
                </a:lnTo>
                <a:lnTo>
                  <a:pt x="3241813" y="17890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>
            <a:lvl1pPr marL="0" marR="0" indent="0" algn="ctr" defTabSz="556895" rtl="0" eaLnBrk="1" fontAlgn="auto" latinLnBrk="0" hangingPunct="1">
              <a:lnSpc>
                <a:spcPct val="90000"/>
              </a:lnSpc>
              <a:spcBef>
                <a:spcPts val="61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lang="ko-KR" altLang="en-US" sz="1095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marR="0" lvl="0" indent="0" algn="ctr" defTabSz="556895" rtl="0" eaLnBrk="1" fontAlgn="auto" latinLnBrk="0" hangingPunct="1">
              <a:lnSpc>
                <a:spcPct val="90000"/>
              </a:lnSpc>
              <a:spcBef>
                <a:spcPts val="61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ko-KR" dirty="0"/>
              <a:t>Place Your Picture Here Send To Back</a:t>
            </a:r>
            <a:endParaRPr lang="ko-KR" altLang="en-US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 flipV="1">
            <a:off x="0" y="0"/>
            <a:ext cx="12192000" cy="3789040"/>
          </a:xfrm>
          <a:prstGeom prst="rect">
            <a:avLst/>
          </a:prstGeom>
          <a:gradFill>
            <a:gsLst>
              <a:gs pos="66000">
                <a:schemeClr val="accent3"/>
              </a:gs>
              <a:gs pos="33000">
                <a:schemeClr val="accent2"/>
              </a:gs>
              <a:gs pos="0">
                <a:schemeClr val="accent1"/>
              </a:gs>
              <a:gs pos="96000">
                <a:schemeClr val="accent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ko-KR" altLang="en-US" sz="1705">
              <a:cs typeface="Arial" panose="020B0604020202020204" pitchFamily="34" charset="0"/>
            </a:endParaRP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1565649" y="2089866"/>
            <a:ext cx="3814271" cy="2095683"/>
            <a:chOff x="-548507" y="477868"/>
            <a:chExt cx="11570449" cy="6357177"/>
          </a:xfrm>
        </p:grpSpPr>
        <p:sp>
          <p:nvSpPr>
            <p:cNvPr id="35" name="Freeform: Shape 34"/>
            <p:cNvSpPr/>
            <p:nvPr/>
          </p:nvSpPr>
          <p:spPr>
            <a:xfrm>
              <a:off x="-482765" y="6440599"/>
              <a:ext cx="11438966" cy="394446"/>
            </a:xfrm>
            <a:custGeom>
              <a:avLst/>
              <a:gdLst>
                <a:gd name="connsiteX0" fmla="*/ 1605439 w 1657350"/>
                <a:gd name="connsiteY0" fmla="*/ 54769 h 57150"/>
                <a:gd name="connsiteX1" fmla="*/ 1652111 w 1657350"/>
                <a:gd name="connsiteY1" fmla="*/ 22384 h 57150"/>
                <a:gd name="connsiteX2" fmla="*/ 1652111 w 1657350"/>
                <a:gd name="connsiteY2" fmla="*/ 22384 h 57150"/>
                <a:gd name="connsiteX3" fmla="*/ 1636871 w 1657350"/>
                <a:gd name="connsiteY3" fmla="*/ 7144 h 57150"/>
                <a:gd name="connsiteX4" fmla="*/ 44291 w 1657350"/>
                <a:gd name="connsiteY4" fmla="*/ 12859 h 57150"/>
                <a:gd name="connsiteX5" fmla="*/ 23336 w 1657350"/>
                <a:gd name="connsiteY5" fmla="*/ 12859 h 57150"/>
                <a:gd name="connsiteX6" fmla="*/ 7144 w 1657350"/>
                <a:gd name="connsiteY6" fmla="*/ 26194 h 57150"/>
                <a:gd name="connsiteX7" fmla="*/ 7144 w 1657350"/>
                <a:gd name="connsiteY7" fmla="*/ 26194 h 57150"/>
                <a:gd name="connsiteX8" fmla="*/ 50959 w 1657350"/>
                <a:gd name="connsiteY8" fmla="*/ 53816 h 57150"/>
                <a:gd name="connsiteX9" fmla="*/ 51911 w 1657350"/>
                <a:gd name="connsiteY9" fmla="*/ 54769 h 57150"/>
                <a:gd name="connsiteX10" fmla="*/ 51911 w 1657350"/>
                <a:gd name="connsiteY10" fmla="*/ 54769 h 57150"/>
                <a:gd name="connsiteX11" fmla="*/ 56674 w 1657350"/>
                <a:gd name="connsiteY11" fmla="*/ 54769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57350" h="57150">
                  <a:moveTo>
                    <a:pt x="1605439" y="54769"/>
                  </a:moveTo>
                  <a:cubicBezTo>
                    <a:pt x="1605439" y="54769"/>
                    <a:pt x="1638776" y="50959"/>
                    <a:pt x="1652111" y="22384"/>
                  </a:cubicBezTo>
                  <a:lnTo>
                    <a:pt x="1652111" y="22384"/>
                  </a:lnTo>
                  <a:cubicBezTo>
                    <a:pt x="1652111" y="13811"/>
                    <a:pt x="1645444" y="7144"/>
                    <a:pt x="1636871" y="7144"/>
                  </a:cubicBezTo>
                  <a:lnTo>
                    <a:pt x="44291" y="12859"/>
                  </a:lnTo>
                  <a:lnTo>
                    <a:pt x="23336" y="12859"/>
                  </a:lnTo>
                  <a:cubicBezTo>
                    <a:pt x="14764" y="12859"/>
                    <a:pt x="7144" y="18574"/>
                    <a:pt x="7144" y="26194"/>
                  </a:cubicBezTo>
                  <a:lnTo>
                    <a:pt x="7144" y="26194"/>
                  </a:lnTo>
                  <a:cubicBezTo>
                    <a:pt x="17621" y="45244"/>
                    <a:pt x="40481" y="51911"/>
                    <a:pt x="50959" y="53816"/>
                  </a:cubicBezTo>
                  <a:lnTo>
                    <a:pt x="51911" y="54769"/>
                  </a:lnTo>
                  <a:cubicBezTo>
                    <a:pt x="51911" y="54769"/>
                    <a:pt x="51911" y="54769"/>
                    <a:pt x="51911" y="54769"/>
                  </a:cubicBezTo>
                  <a:lnTo>
                    <a:pt x="56674" y="54769"/>
                  </a:lnTo>
                </a:path>
              </a:pathLst>
            </a:custGeom>
            <a:solidFill>
              <a:srgbClr val="5F676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05"/>
            </a:p>
          </p:txBody>
        </p:sp>
        <p:sp>
          <p:nvSpPr>
            <p:cNvPr id="36" name="Freeform: Shape 35"/>
            <p:cNvSpPr/>
            <p:nvPr/>
          </p:nvSpPr>
          <p:spPr>
            <a:xfrm>
              <a:off x="700575" y="477868"/>
              <a:ext cx="9072285" cy="5916709"/>
            </a:xfrm>
            <a:custGeom>
              <a:avLst/>
              <a:gdLst>
                <a:gd name="connsiteX0" fmla="*/ 1311116 w 1314450"/>
                <a:gd name="connsiteY0" fmla="*/ 813911 h 857250"/>
                <a:gd name="connsiteX1" fmla="*/ 1281589 w 1314450"/>
                <a:gd name="connsiteY1" fmla="*/ 852964 h 857250"/>
                <a:gd name="connsiteX2" fmla="*/ 36671 w 1314450"/>
                <a:gd name="connsiteY2" fmla="*/ 852964 h 857250"/>
                <a:gd name="connsiteX3" fmla="*/ 7144 w 1314450"/>
                <a:gd name="connsiteY3" fmla="*/ 813911 h 857250"/>
                <a:gd name="connsiteX4" fmla="*/ 7144 w 1314450"/>
                <a:gd name="connsiteY4" fmla="*/ 46196 h 857250"/>
                <a:gd name="connsiteX5" fmla="*/ 36671 w 1314450"/>
                <a:gd name="connsiteY5" fmla="*/ 7144 h 857250"/>
                <a:gd name="connsiteX6" fmla="*/ 1281589 w 1314450"/>
                <a:gd name="connsiteY6" fmla="*/ 7144 h 857250"/>
                <a:gd name="connsiteX7" fmla="*/ 1311116 w 1314450"/>
                <a:gd name="connsiteY7" fmla="*/ 46196 h 857250"/>
                <a:gd name="connsiteX8" fmla="*/ 1311116 w 1314450"/>
                <a:gd name="connsiteY8" fmla="*/ 813911 h 857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4450" h="857250">
                  <a:moveTo>
                    <a:pt x="1311116" y="813911"/>
                  </a:moveTo>
                  <a:cubicBezTo>
                    <a:pt x="1311116" y="834866"/>
                    <a:pt x="1297781" y="852964"/>
                    <a:pt x="1281589" y="852964"/>
                  </a:cubicBezTo>
                  <a:lnTo>
                    <a:pt x="36671" y="852964"/>
                  </a:lnTo>
                  <a:cubicBezTo>
                    <a:pt x="20479" y="852964"/>
                    <a:pt x="7144" y="835819"/>
                    <a:pt x="7144" y="813911"/>
                  </a:cubicBezTo>
                  <a:lnTo>
                    <a:pt x="7144" y="46196"/>
                  </a:lnTo>
                  <a:cubicBezTo>
                    <a:pt x="7144" y="25241"/>
                    <a:pt x="20479" y="7144"/>
                    <a:pt x="36671" y="7144"/>
                  </a:cubicBezTo>
                  <a:lnTo>
                    <a:pt x="1281589" y="7144"/>
                  </a:lnTo>
                  <a:cubicBezTo>
                    <a:pt x="1297781" y="7144"/>
                    <a:pt x="1311116" y="24289"/>
                    <a:pt x="1311116" y="46196"/>
                  </a:cubicBezTo>
                  <a:lnTo>
                    <a:pt x="1311116" y="81391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05"/>
            </a:p>
          </p:txBody>
        </p:sp>
        <p:sp>
          <p:nvSpPr>
            <p:cNvPr id="37" name="Freeform: Shape 36"/>
            <p:cNvSpPr/>
            <p:nvPr/>
          </p:nvSpPr>
          <p:spPr>
            <a:xfrm>
              <a:off x="1088451" y="839448"/>
              <a:ext cx="8283390" cy="5062073"/>
            </a:xfrm>
            <a:custGeom>
              <a:avLst/>
              <a:gdLst>
                <a:gd name="connsiteX0" fmla="*/ 7144 w 1200150"/>
                <a:gd name="connsiteY0" fmla="*/ 7144 h 733425"/>
                <a:gd name="connsiteX1" fmla="*/ 1196816 w 1200150"/>
                <a:gd name="connsiteY1" fmla="*/ 7144 h 733425"/>
                <a:gd name="connsiteX2" fmla="*/ 1196816 w 1200150"/>
                <a:gd name="connsiteY2" fmla="*/ 730091 h 733425"/>
                <a:gd name="connsiteX3" fmla="*/ 7144 w 1200150"/>
                <a:gd name="connsiteY3" fmla="*/ 730091 h 73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0150" h="733425">
                  <a:moveTo>
                    <a:pt x="7144" y="7144"/>
                  </a:moveTo>
                  <a:lnTo>
                    <a:pt x="1196816" y="7144"/>
                  </a:lnTo>
                  <a:lnTo>
                    <a:pt x="1196816" y="730091"/>
                  </a:lnTo>
                  <a:lnTo>
                    <a:pt x="7144" y="730091"/>
                  </a:lnTo>
                  <a:close/>
                </a:path>
              </a:pathLst>
            </a:custGeom>
            <a:solidFill>
              <a:srgbClr val="F2F2F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05"/>
            </a:p>
          </p:txBody>
        </p:sp>
        <p:sp>
          <p:nvSpPr>
            <p:cNvPr id="38" name="Freeform: Shape 37"/>
            <p:cNvSpPr/>
            <p:nvPr/>
          </p:nvSpPr>
          <p:spPr>
            <a:xfrm>
              <a:off x="-548507" y="6164484"/>
              <a:ext cx="11570449" cy="460187"/>
            </a:xfrm>
            <a:custGeom>
              <a:avLst/>
              <a:gdLst>
                <a:gd name="connsiteX0" fmla="*/ 50006 w 1676400"/>
                <a:gd name="connsiteY0" fmla="*/ 7144 h 66675"/>
                <a:gd name="connsiteX1" fmla="*/ 1630204 w 1676400"/>
                <a:gd name="connsiteY1" fmla="*/ 7144 h 66675"/>
                <a:gd name="connsiteX2" fmla="*/ 1672114 w 1676400"/>
                <a:gd name="connsiteY2" fmla="*/ 49054 h 66675"/>
                <a:gd name="connsiteX3" fmla="*/ 1672114 w 1676400"/>
                <a:gd name="connsiteY3" fmla="*/ 57626 h 66675"/>
                <a:gd name="connsiteX4" fmla="*/ 1656874 w 1676400"/>
                <a:gd name="connsiteY4" fmla="*/ 62389 h 66675"/>
                <a:gd name="connsiteX5" fmla="*/ 1654016 w 1676400"/>
                <a:gd name="connsiteY5" fmla="*/ 62389 h 66675"/>
                <a:gd name="connsiteX6" fmla="*/ 29051 w 1676400"/>
                <a:gd name="connsiteY6" fmla="*/ 62389 h 66675"/>
                <a:gd name="connsiteX7" fmla="*/ 21431 w 1676400"/>
                <a:gd name="connsiteY7" fmla="*/ 63341 h 66675"/>
                <a:gd name="connsiteX8" fmla="*/ 7144 w 1676400"/>
                <a:gd name="connsiteY8" fmla="*/ 55721 h 66675"/>
                <a:gd name="connsiteX9" fmla="*/ 7144 w 1676400"/>
                <a:gd name="connsiteY9" fmla="*/ 48101 h 66675"/>
                <a:gd name="connsiteX10" fmla="*/ 50006 w 1676400"/>
                <a:gd name="connsiteY10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76400" h="66675">
                  <a:moveTo>
                    <a:pt x="50006" y="7144"/>
                  </a:moveTo>
                  <a:lnTo>
                    <a:pt x="1630204" y="7144"/>
                  </a:lnTo>
                  <a:cubicBezTo>
                    <a:pt x="1653064" y="7144"/>
                    <a:pt x="1672114" y="26194"/>
                    <a:pt x="1672114" y="49054"/>
                  </a:cubicBezTo>
                  <a:lnTo>
                    <a:pt x="1672114" y="57626"/>
                  </a:lnTo>
                  <a:cubicBezTo>
                    <a:pt x="1672114" y="57626"/>
                    <a:pt x="1674019" y="64294"/>
                    <a:pt x="1656874" y="62389"/>
                  </a:cubicBezTo>
                  <a:cubicBezTo>
                    <a:pt x="1655921" y="62389"/>
                    <a:pt x="1654969" y="62389"/>
                    <a:pt x="1654016" y="62389"/>
                  </a:cubicBezTo>
                  <a:lnTo>
                    <a:pt x="29051" y="62389"/>
                  </a:lnTo>
                  <a:cubicBezTo>
                    <a:pt x="26194" y="62389"/>
                    <a:pt x="24289" y="62389"/>
                    <a:pt x="21431" y="63341"/>
                  </a:cubicBezTo>
                  <a:cubicBezTo>
                    <a:pt x="16669" y="64294"/>
                    <a:pt x="8096" y="64294"/>
                    <a:pt x="7144" y="55721"/>
                  </a:cubicBezTo>
                  <a:lnTo>
                    <a:pt x="7144" y="48101"/>
                  </a:lnTo>
                  <a:cubicBezTo>
                    <a:pt x="8096" y="25241"/>
                    <a:pt x="26194" y="7144"/>
                    <a:pt x="50006" y="7144"/>
                  </a:cubicBezTo>
                  <a:close/>
                </a:path>
              </a:pathLst>
            </a:custGeom>
            <a:solidFill>
              <a:srgbClr val="CCCCC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05" dirty="0"/>
            </a:p>
          </p:txBody>
        </p:sp>
        <p:sp>
          <p:nvSpPr>
            <p:cNvPr id="39" name="Freeform: Shape 38"/>
            <p:cNvSpPr/>
            <p:nvPr/>
          </p:nvSpPr>
          <p:spPr>
            <a:xfrm>
              <a:off x="4438629" y="6215033"/>
              <a:ext cx="1618413" cy="184076"/>
            </a:xfrm>
            <a:custGeom>
              <a:avLst/>
              <a:gdLst>
                <a:gd name="connsiteX0" fmla="*/ 1478513 w 1618413"/>
                <a:gd name="connsiteY0" fmla="*/ 177499 h 184076"/>
                <a:gd name="connsiteX1" fmla="*/ 1485084 w 1618413"/>
                <a:gd name="connsiteY1" fmla="*/ 177499 h 184076"/>
                <a:gd name="connsiteX2" fmla="*/ 1502686 w 1618413"/>
                <a:gd name="connsiteY2" fmla="*/ 178122 h 184076"/>
                <a:gd name="connsiteX3" fmla="*/ 1499879 w 1618413"/>
                <a:gd name="connsiteY3" fmla="*/ 178526 h 184076"/>
                <a:gd name="connsiteX4" fmla="*/ 1478513 w 1618413"/>
                <a:gd name="connsiteY4" fmla="*/ 177499 h 184076"/>
                <a:gd name="connsiteX5" fmla="*/ 84799 w 1618413"/>
                <a:gd name="connsiteY5" fmla="*/ 170928 h 184076"/>
                <a:gd name="connsiteX6" fmla="*/ 117666 w 1618413"/>
                <a:gd name="connsiteY6" fmla="*/ 177499 h 184076"/>
                <a:gd name="connsiteX7" fmla="*/ 104518 w 1618413"/>
                <a:gd name="connsiteY7" fmla="*/ 177499 h 184076"/>
                <a:gd name="connsiteX8" fmla="*/ 84799 w 1618413"/>
                <a:gd name="connsiteY8" fmla="*/ 170928 h 184076"/>
                <a:gd name="connsiteX9" fmla="*/ 1603418 w 1618413"/>
                <a:gd name="connsiteY9" fmla="*/ 0 h 184076"/>
                <a:gd name="connsiteX10" fmla="*/ 1616567 w 1618413"/>
                <a:gd name="connsiteY10" fmla="*/ 0 h 184076"/>
                <a:gd name="connsiteX11" fmla="*/ 1511177 w 1618413"/>
                <a:gd name="connsiteY11" fmla="*/ 178423 h 184076"/>
                <a:gd name="connsiteX12" fmla="*/ 1502686 w 1618413"/>
                <a:gd name="connsiteY12" fmla="*/ 178122 h 184076"/>
                <a:gd name="connsiteX13" fmla="*/ 1521501 w 1618413"/>
                <a:gd name="connsiteY13" fmla="*/ 175419 h 184076"/>
                <a:gd name="connsiteX14" fmla="*/ 1603418 w 1618413"/>
                <a:gd name="connsiteY14" fmla="*/ 6571 h 184076"/>
                <a:gd name="connsiteX15" fmla="*/ 5911 w 1618413"/>
                <a:gd name="connsiteY15" fmla="*/ 0 h 184076"/>
                <a:gd name="connsiteX16" fmla="*/ 19060 w 1618413"/>
                <a:gd name="connsiteY16" fmla="*/ 6571 h 184076"/>
                <a:gd name="connsiteX17" fmla="*/ 91379 w 1618413"/>
                <a:gd name="connsiteY17" fmla="*/ 184076 h 184076"/>
                <a:gd name="connsiteX18" fmla="*/ 5911 w 1618413"/>
                <a:gd name="connsiteY18" fmla="*/ 0 h 184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8413" h="184076">
                  <a:moveTo>
                    <a:pt x="1478513" y="177499"/>
                  </a:moveTo>
                  <a:lnTo>
                    <a:pt x="1485084" y="177499"/>
                  </a:lnTo>
                  <a:lnTo>
                    <a:pt x="1502686" y="178122"/>
                  </a:lnTo>
                  <a:lnTo>
                    <a:pt x="1499879" y="178526"/>
                  </a:lnTo>
                  <a:cubicBezTo>
                    <a:pt x="1487142" y="179142"/>
                    <a:pt x="1478513" y="177499"/>
                    <a:pt x="1478513" y="177499"/>
                  </a:cubicBezTo>
                  <a:close/>
                  <a:moveTo>
                    <a:pt x="84799" y="170928"/>
                  </a:moveTo>
                  <a:cubicBezTo>
                    <a:pt x="97947" y="177499"/>
                    <a:pt x="104518" y="177499"/>
                    <a:pt x="117666" y="177499"/>
                  </a:cubicBezTo>
                  <a:lnTo>
                    <a:pt x="104518" y="177499"/>
                  </a:lnTo>
                  <a:cubicBezTo>
                    <a:pt x="97947" y="177499"/>
                    <a:pt x="91370" y="177499"/>
                    <a:pt x="84799" y="170928"/>
                  </a:cubicBezTo>
                  <a:close/>
                  <a:moveTo>
                    <a:pt x="1603418" y="0"/>
                  </a:moveTo>
                  <a:lnTo>
                    <a:pt x="1616567" y="0"/>
                  </a:lnTo>
                  <a:cubicBezTo>
                    <a:pt x="1631361" y="152847"/>
                    <a:pt x="1553705" y="176266"/>
                    <a:pt x="1511177" y="178423"/>
                  </a:cubicBezTo>
                  <a:lnTo>
                    <a:pt x="1502686" y="178122"/>
                  </a:lnTo>
                  <a:lnTo>
                    <a:pt x="1521501" y="175419"/>
                  </a:lnTo>
                  <a:cubicBezTo>
                    <a:pt x="1560791" y="165788"/>
                    <a:pt x="1611636" y="129836"/>
                    <a:pt x="1603418" y="6571"/>
                  </a:cubicBezTo>
                  <a:close/>
                  <a:moveTo>
                    <a:pt x="5911" y="0"/>
                  </a:moveTo>
                  <a:lnTo>
                    <a:pt x="19060" y="6571"/>
                  </a:lnTo>
                  <a:cubicBezTo>
                    <a:pt x="19060" y="6571"/>
                    <a:pt x="-20385" y="144631"/>
                    <a:pt x="91379" y="184076"/>
                  </a:cubicBezTo>
                  <a:cubicBezTo>
                    <a:pt x="-33534" y="151202"/>
                    <a:pt x="5911" y="0"/>
                    <a:pt x="5911" y="0"/>
                  </a:cubicBezTo>
                  <a:close/>
                </a:path>
              </a:pathLst>
            </a:custGeom>
            <a:solidFill>
              <a:srgbClr val="4D4D4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05"/>
            </a:p>
          </p:txBody>
        </p:sp>
        <p:grpSp>
          <p:nvGrpSpPr>
            <p:cNvPr id="40" name="Group 39"/>
            <p:cNvGrpSpPr/>
            <p:nvPr/>
          </p:nvGrpSpPr>
          <p:grpSpPr>
            <a:xfrm>
              <a:off x="1606" y="6382978"/>
              <a:ext cx="413937" cy="115242"/>
              <a:chOff x="5955" y="6353672"/>
              <a:chExt cx="413937" cy="115242"/>
            </a:xfrm>
          </p:grpSpPr>
          <p:sp>
            <p:nvSpPr>
              <p:cNvPr id="45" name="Rectangle: Rounded Corners 44"/>
              <p:cNvSpPr/>
              <p:nvPr/>
            </p:nvSpPr>
            <p:spPr>
              <a:xfrm>
                <a:off x="5955" y="6353672"/>
                <a:ext cx="413937" cy="115242"/>
              </a:xfrm>
              <a:prstGeom prst="roundRect">
                <a:avLst>
                  <a:gd name="adj" fmla="val 28154"/>
                </a:avLst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05"/>
              </a:p>
            </p:txBody>
          </p:sp>
          <p:sp>
            <p:nvSpPr>
              <p:cNvPr id="46" name="Rectangle: Rounded Corners 45"/>
              <p:cNvSpPr/>
              <p:nvPr/>
            </p:nvSpPr>
            <p:spPr>
              <a:xfrm>
                <a:off x="99417" y="6382279"/>
                <a:ext cx="227012" cy="55272"/>
              </a:xfrm>
              <a:prstGeom prst="roundRect">
                <a:avLst>
                  <a:gd name="adj" fmla="val 28154"/>
                </a:avLst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05"/>
              </a:p>
            </p:txBody>
          </p:sp>
        </p:grpSp>
        <p:grpSp>
          <p:nvGrpSpPr>
            <p:cNvPr id="41" name="Group 40"/>
            <p:cNvGrpSpPr/>
            <p:nvPr/>
          </p:nvGrpSpPr>
          <p:grpSpPr>
            <a:xfrm>
              <a:off x="9855291" y="6381600"/>
              <a:ext cx="885989" cy="115242"/>
              <a:chOff x="5955" y="6353672"/>
              <a:chExt cx="413937" cy="115242"/>
            </a:xfrm>
          </p:grpSpPr>
          <p:sp>
            <p:nvSpPr>
              <p:cNvPr id="43" name="Rectangle: Rounded Corners 42"/>
              <p:cNvSpPr/>
              <p:nvPr/>
            </p:nvSpPr>
            <p:spPr>
              <a:xfrm>
                <a:off x="5955" y="6353672"/>
                <a:ext cx="413937" cy="115242"/>
              </a:xfrm>
              <a:prstGeom prst="roundRect">
                <a:avLst>
                  <a:gd name="adj" fmla="val 28154"/>
                </a:avLst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05"/>
              </a:p>
            </p:txBody>
          </p:sp>
          <p:sp>
            <p:nvSpPr>
              <p:cNvPr id="44" name="Rectangle: Rounded Corners 43"/>
              <p:cNvSpPr/>
              <p:nvPr/>
            </p:nvSpPr>
            <p:spPr>
              <a:xfrm>
                <a:off x="84761" y="6382279"/>
                <a:ext cx="256326" cy="55272"/>
              </a:xfrm>
              <a:prstGeom prst="roundRect">
                <a:avLst>
                  <a:gd name="adj" fmla="val 28154"/>
                </a:avLst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05" dirty="0"/>
              </a:p>
            </p:txBody>
          </p:sp>
        </p:grpSp>
        <p:sp>
          <p:nvSpPr>
            <p:cNvPr id="42" name="Freeform: Shape 41"/>
            <p:cNvSpPr/>
            <p:nvPr/>
          </p:nvSpPr>
          <p:spPr>
            <a:xfrm>
              <a:off x="3892805" y="496953"/>
              <a:ext cx="5479036" cy="5431217"/>
            </a:xfrm>
            <a:custGeom>
              <a:avLst/>
              <a:gdLst>
                <a:gd name="connsiteX0" fmla="*/ 2567127 w 4009217"/>
                <a:gd name="connsiteY0" fmla="*/ 30683 h 4295590"/>
                <a:gd name="connsiteX1" fmla="*/ 3798529 w 4009217"/>
                <a:gd name="connsiteY1" fmla="*/ 30683 h 4295590"/>
                <a:gd name="connsiteX2" fmla="*/ 4007172 w 4009217"/>
                <a:gd name="connsiteY2" fmla="*/ 272054 h 4295590"/>
                <a:gd name="connsiteX3" fmla="*/ 3998990 w 4009217"/>
                <a:gd name="connsiteY3" fmla="*/ 4268999 h 4295590"/>
                <a:gd name="connsiteX4" fmla="*/ 30683 w 4009217"/>
                <a:gd name="connsiteY4" fmla="*/ 4268999 h 4295590"/>
                <a:gd name="connsiteX0-1" fmla="*/ 2536444 w 3976489"/>
                <a:gd name="connsiteY0-2" fmla="*/ 0 h 4238316"/>
                <a:gd name="connsiteX1-3" fmla="*/ 3976489 w 3976489"/>
                <a:gd name="connsiteY1-4" fmla="*/ 241371 h 4238316"/>
                <a:gd name="connsiteX2-5" fmla="*/ 3968307 w 3976489"/>
                <a:gd name="connsiteY2-6" fmla="*/ 4238316 h 4238316"/>
                <a:gd name="connsiteX3-7" fmla="*/ 0 w 3976489"/>
                <a:gd name="connsiteY3-8" fmla="*/ 4238316 h 4238316"/>
                <a:gd name="connsiteX0-9" fmla="*/ 2536444 w 3976489"/>
                <a:gd name="connsiteY0-10" fmla="*/ 0 h 4238316"/>
                <a:gd name="connsiteX1-11" fmla="*/ 3976489 w 3976489"/>
                <a:gd name="connsiteY1-12" fmla="*/ 213683 h 4238316"/>
                <a:gd name="connsiteX2-13" fmla="*/ 3968307 w 3976489"/>
                <a:gd name="connsiteY2-14" fmla="*/ 4238316 h 4238316"/>
                <a:gd name="connsiteX3-15" fmla="*/ 0 w 3976489"/>
                <a:gd name="connsiteY3-16" fmla="*/ 4238316 h 4238316"/>
                <a:gd name="connsiteX0-17" fmla="*/ 2473335 w 3976489"/>
                <a:gd name="connsiteY0-18" fmla="*/ 0 h 4035268"/>
                <a:gd name="connsiteX1-19" fmla="*/ 3976489 w 3976489"/>
                <a:gd name="connsiteY1-20" fmla="*/ 10635 h 4035268"/>
                <a:gd name="connsiteX2-21" fmla="*/ 3968307 w 3976489"/>
                <a:gd name="connsiteY2-22" fmla="*/ 4035268 h 4035268"/>
                <a:gd name="connsiteX3-23" fmla="*/ 0 w 3976489"/>
                <a:gd name="connsiteY3-24" fmla="*/ 4035268 h 403526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3976489" h="4035268">
                  <a:moveTo>
                    <a:pt x="2473335" y="0"/>
                  </a:moveTo>
                  <a:lnTo>
                    <a:pt x="3976489" y="10635"/>
                  </a:lnTo>
                  <a:cubicBezTo>
                    <a:pt x="3973762" y="1342950"/>
                    <a:pt x="3971034" y="2702953"/>
                    <a:pt x="3968307" y="4035268"/>
                  </a:cubicBezTo>
                  <a:lnTo>
                    <a:pt x="0" y="4035268"/>
                  </a:lnTo>
                </a:path>
              </a:pathLst>
            </a:custGeom>
            <a:solidFill>
              <a:srgbClr val="999999">
                <a:alpha val="1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05" dirty="0"/>
            </a:p>
          </p:txBody>
        </p:sp>
      </p:grpSp>
      <p:grpSp>
        <p:nvGrpSpPr>
          <p:cNvPr id="47" name="Group 46"/>
          <p:cNvGrpSpPr/>
          <p:nvPr userDrawn="1"/>
        </p:nvGrpSpPr>
        <p:grpSpPr>
          <a:xfrm>
            <a:off x="6773074" y="2089866"/>
            <a:ext cx="3814271" cy="2095683"/>
            <a:chOff x="-548507" y="477868"/>
            <a:chExt cx="11570449" cy="6357177"/>
          </a:xfrm>
        </p:grpSpPr>
        <p:sp>
          <p:nvSpPr>
            <p:cNvPr id="48" name="Freeform: Shape 47"/>
            <p:cNvSpPr/>
            <p:nvPr/>
          </p:nvSpPr>
          <p:spPr>
            <a:xfrm>
              <a:off x="-482765" y="6440599"/>
              <a:ext cx="11438966" cy="394446"/>
            </a:xfrm>
            <a:custGeom>
              <a:avLst/>
              <a:gdLst>
                <a:gd name="connsiteX0" fmla="*/ 1605439 w 1657350"/>
                <a:gd name="connsiteY0" fmla="*/ 54769 h 57150"/>
                <a:gd name="connsiteX1" fmla="*/ 1652111 w 1657350"/>
                <a:gd name="connsiteY1" fmla="*/ 22384 h 57150"/>
                <a:gd name="connsiteX2" fmla="*/ 1652111 w 1657350"/>
                <a:gd name="connsiteY2" fmla="*/ 22384 h 57150"/>
                <a:gd name="connsiteX3" fmla="*/ 1636871 w 1657350"/>
                <a:gd name="connsiteY3" fmla="*/ 7144 h 57150"/>
                <a:gd name="connsiteX4" fmla="*/ 44291 w 1657350"/>
                <a:gd name="connsiteY4" fmla="*/ 12859 h 57150"/>
                <a:gd name="connsiteX5" fmla="*/ 23336 w 1657350"/>
                <a:gd name="connsiteY5" fmla="*/ 12859 h 57150"/>
                <a:gd name="connsiteX6" fmla="*/ 7144 w 1657350"/>
                <a:gd name="connsiteY6" fmla="*/ 26194 h 57150"/>
                <a:gd name="connsiteX7" fmla="*/ 7144 w 1657350"/>
                <a:gd name="connsiteY7" fmla="*/ 26194 h 57150"/>
                <a:gd name="connsiteX8" fmla="*/ 50959 w 1657350"/>
                <a:gd name="connsiteY8" fmla="*/ 53816 h 57150"/>
                <a:gd name="connsiteX9" fmla="*/ 51911 w 1657350"/>
                <a:gd name="connsiteY9" fmla="*/ 54769 h 57150"/>
                <a:gd name="connsiteX10" fmla="*/ 51911 w 1657350"/>
                <a:gd name="connsiteY10" fmla="*/ 54769 h 57150"/>
                <a:gd name="connsiteX11" fmla="*/ 56674 w 1657350"/>
                <a:gd name="connsiteY11" fmla="*/ 54769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57350" h="57150">
                  <a:moveTo>
                    <a:pt x="1605439" y="54769"/>
                  </a:moveTo>
                  <a:cubicBezTo>
                    <a:pt x="1605439" y="54769"/>
                    <a:pt x="1638776" y="50959"/>
                    <a:pt x="1652111" y="22384"/>
                  </a:cubicBezTo>
                  <a:lnTo>
                    <a:pt x="1652111" y="22384"/>
                  </a:lnTo>
                  <a:cubicBezTo>
                    <a:pt x="1652111" y="13811"/>
                    <a:pt x="1645444" y="7144"/>
                    <a:pt x="1636871" y="7144"/>
                  </a:cubicBezTo>
                  <a:lnTo>
                    <a:pt x="44291" y="12859"/>
                  </a:lnTo>
                  <a:lnTo>
                    <a:pt x="23336" y="12859"/>
                  </a:lnTo>
                  <a:cubicBezTo>
                    <a:pt x="14764" y="12859"/>
                    <a:pt x="7144" y="18574"/>
                    <a:pt x="7144" y="26194"/>
                  </a:cubicBezTo>
                  <a:lnTo>
                    <a:pt x="7144" y="26194"/>
                  </a:lnTo>
                  <a:cubicBezTo>
                    <a:pt x="17621" y="45244"/>
                    <a:pt x="40481" y="51911"/>
                    <a:pt x="50959" y="53816"/>
                  </a:cubicBezTo>
                  <a:lnTo>
                    <a:pt x="51911" y="54769"/>
                  </a:lnTo>
                  <a:cubicBezTo>
                    <a:pt x="51911" y="54769"/>
                    <a:pt x="51911" y="54769"/>
                    <a:pt x="51911" y="54769"/>
                  </a:cubicBezTo>
                  <a:lnTo>
                    <a:pt x="56674" y="54769"/>
                  </a:lnTo>
                </a:path>
              </a:pathLst>
            </a:custGeom>
            <a:solidFill>
              <a:srgbClr val="5F676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05"/>
            </a:p>
          </p:txBody>
        </p:sp>
        <p:sp>
          <p:nvSpPr>
            <p:cNvPr id="49" name="Freeform: Shape 48"/>
            <p:cNvSpPr/>
            <p:nvPr/>
          </p:nvSpPr>
          <p:spPr>
            <a:xfrm>
              <a:off x="700575" y="477868"/>
              <a:ext cx="9072285" cy="5916709"/>
            </a:xfrm>
            <a:custGeom>
              <a:avLst/>
              <a:gdLst>
                <a:gd name="connsiteX0" fmla="*/ 1311116 w 1314450"/>
                <a:gd name="connsiteY0" fmla="*/ 813911 h 857250"/>
                <a:gd name="connsiteX1" fmla="*/ 1281589 w 1314450"/>
                <a:gd name="connsiteY1" fmla="*/ 852964 h 857250"/>
                <a:gd name="connsiteX2" fmla="*/ 36671 w 1314450"/>
                <a:gd name="connsiteY2" fmla="*/ 852964 h 857250"/>
                <a:gd name="connsiteX3" fmla="*/ 7144 w 1314450"/>
                <a:gd name="connsiteY3" fmla="*/ 813911 h 857250"/>
                <a:gd name="connsiteX4" fmla="*/ 7144 w 1314450"/>
                <a:gd name="connsiteY4" fmla="*/ 46196 h 857250"/>
                <a:gd name="connsiteX5" fmla="*/ 36671 w 1314450"/>
                <a:gd name="connsiteY5" fmla="*/ 7144 h 857250"/>
                <a:gd name="connsiteX6" fmla="*/ 1281589 w 1314450"/>
                <a:gd name="connsiteY6" fmla="*/ 7144 h 857250"/>
                <a:gd name="connsiteX7" fmla="*/ 1311116 w 1314450"/>
                <a:gd name="connsiteY7" fmla="*/ 46196 h 857250"/>
                <a:gd name="connsiteX8" fmla="*/ 1311116 w 1314450"/>
                <a:gd name="connsiteY8" fmla="*/ 813911 h 857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4450" h="857250">
                  <a:moveTo>
                    <a:pt x="1311116" y="813911"/>
                  </a:moveTo>
                  <a:cubicBezTo>
                    <a:pt x="1311116" y="834866"/>
                    <a:pt x="1297781" y="852964"/>
                    <a:pt x="1281589" y="852964"/>
                  </a:cubicBezTo>
                  <a:lnTo>
                    <a:pt x="36671" y="852964"/>
                  </a:lnTo>
                  <a:cubicBezTo>
                    <a:pt x="20479" y="852964"/>
                    <a:pt x="7144" y="835819"/>
                    <a:pt x="7144" y="813911"/>
                  </a:cubicBezTo>
                  <a:lnTo>
                    <a:pt x="7144" y="46196"/>
                  </a:lnTo>
                  <a:cubicBezTo>
                    <a:pt x="7144" y="25241"/>
                    <a:pt x="20479" y="7144"/>
                    <a:pt x="36671" y="7144"/>
                  </a:cubicBezTo>
                  <a:lnTo>
                    <a:pt x="1281589" y="7144"/>
                  </a:lnTo>
                  <a:cubicBezTo>
                    <a:pt x="1297781" y="7144"/>
                    <a:pt x="1311116" y="24289"/>
                    <a:pt x="1311116" y="46196"/>
                  </a:cubicBezTo>
                  <a:lnTo>
                    <a:pt x="1311116" y="81391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05"/>
            </a:p>
          </p:txBody>
        </p:sp>
        <p:sp>
          <p:nvSpPr>
            <p:cNvPr id="50" name="Freeform: Shape 49"/>
            <p:cNvSpPr/>
            <p:nvPr/>
          </p:nvSpPr>
          <p:spPr>
            <a:xfrm>
              <a:off x="1088451" y="839448"/>
              <a:ext cx="8283390" cy="5062073"/>
            </a:xfrm>
            <a:custGeom>
              <a:avLst/>
              <a:gdLst>
                <a:gd name="connsiteX0" fmla="*/ 7144 w 1200150"/>
                <a:gd name="connsiteY0" fmla="*/ 7144 h 733425"/>
                <a:gd name="connsiteX1" fmla="*/ 1196816 w 1200150"/>
                <a:gd name="connsiteY1" fmla="*/ 7144 h 733425"/>
                <a:gd name="connsiteX2" fmla="*/ 1196816 w 1200150"/>
                <a:gd name="connsiteY2" fmla="*/ 730091 h 733425"/>
                <a:gd name="connsiteX3" fmla="*/ 7144 w 1200150"/>
                <a:gd name="connsiteY3" fmla="*/ 730091 h 73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0150" h="733425">
                  <a:moveTo>
                    <a:pt x="7144" y="7144"/>
                  </a:moveTo>
                  <a:lnTo>
                    <a:pt x="1196816" y="7144"/>
                  </a:lnTo>
                  <a:lnTo>
                    <a:pt x="1196816" y="730091"/>
                  </a:lnTo>
                  <a:lnTo>
                    <a:pt x="7144" y="730091"/>
                  </a:lnTo>
                  <a:close/>
                </a:path>
              </a:pathLst>
            </a:custGeom>
            <a:solidFill>
              <a:srgbClr val="F2F2F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05"/>
            </a:p>
          </p:txBody>
        </p:sp>
        <p:sp>
          <p:nvSpPr>
            <p:cNvPr id="51" name="Freeform: Shape 50"/>
            <p:cNvSpPr/>
            <p:nvPr/>
          </p:nvSpPr>
          <p:spPr>
            <a:xfrm>
              <a:off x="-548507" y="6164484"/>
              <a:ext cx="11570449" cy="460187"/>
            </a:xfrm>
            <a:custGeom>
              <a:avLst/>
              <a:gdLst>
                <a:gd name="connsiteX0" fmla="*/ 50006 w 1676400"/>
                <a:gd name="connsiteY0" fmla="*/ 7144 h 66675"/>
                <a:gd name="connsiteX1" fmla="*/ 1630204 w 1676400"/>
                <a:gd name="connsiteY1" fmla="*/ 7144 h 66675"/>
                <a:gd name="connsiteX2" fmla="*/ 1672114 w 1676400"/>
                <a:gd name="connsiteY2" fmla="*/ 49054 h 66675"/>
                <a:gd name="connsiteX3" fmla="*/ 1672114 w 1676400"/>
                <a:gd name="connsiteY3" fmla="*/ 57626 h 66675"/>
                <a:gd name="connsiteX4" fmla="*/ 1656874 w 1676400"/>
                <a:gd name="connsiteY4" fmla="*/ 62389 h 66675"/>
                <a:gd name="connsiteX5" fmla="*/ 1654016 w 1676400"/>
                <a:gd name="connsiteY5" fmla="*/ 62389 h 66675"/>
                <a:gd name="connsiteX6" fmla="*/ 29051 w 1676400"/>
                <a:gd name="connsiteY6" fmla="*/ 62389 h 66675"/>
                <a:gd name="connsiteX7" fmla="*/ 21431 w 1676400"/>
                <a:gd name="connsiteY7" fmla="*/ 63341 h 66675"/>
                <a:gd name="connsiteX8" fmla="*/ 7144 w 1676400"/>
                <a:gd name="connsiteY8" fmla="*/ 55721 h 66675"/>
                <a:gd name="connsiteX9" fmla="*/ 7144 w 1676400"/>
                <a:gd name="connsiteY9" fmla="*/ 48101 h 66675"/>
                <a:gd name="connsiteX10" fmla="*/ 50006 w 1676400"/>
                <a:gd name="connsiteY10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76400" h="66675">
                  <a:moveTo>
                    <a:pt x="50006" y="7144"/>
                  </a:moveTo>
                  <a:lnTo>
                    <a:pt x="1630204" y="7144"/>
                  </a:lnTo>
                  <a:cubicBezTo>
                    <a:pt x="1653064" y="7144"/>
                    <a:pt x="1672114" y="26194"/>
                    <a:pt x="1672114" y="49054"/>
                  </a:cubicBezTo>
                  <a:lnTo>
                    <a:pt x="1672114" y="57626"/>
                  </a:lnTo>
                  <a:cubicBezTo>
                    <a:pt x="1672114" y="57626"/>
                    <a:pt x="1674019" y="64294"/>
                    <a:pt x="1656874" y="62389"/>
                  </a:cubicBezTo>
                  <a:cubicBezTo>
                    <a:pt x="1655921" y="62389"/>
                    <a:pt x="1654969" y="62389"/>
                    <a:pt x="1654016" y="62389"/>
                  </a:cubicBezTo>
                  <a:lnTo>
                    <a:pt x="29051" y="62389"/>
                  </a:lnTo>
                  <a:cubicBezTo>
                    <a:pt x="26194" y="62389"/>
                    <a:pt x="24289" y="62389"/>
                    <a:pt x="21431" y="63341"/>
                  </a:cubicBezTo>
                  <a:cubicBezTo>
                    <a:pt x="16669" y="64294"/>
                    <a:pt x="8096" y="64294"/>
                    <a:pt x="7144" y="55721"/>
                  </a:cubicBezTo>
                  <a:lnTo>
                    <a:pt x="7144" y="48101"/>
                  </a:lnTo>
                  <a:cubicBezTo>
                    <a:pt x="8096" y="25241"/>
                    <a:pt x="26194" y="7144"/>
                    <a:pt x="50006" y="7144"/>
                  </a:cubicBezTo>
                  <a:close/>
                </a:path>
              </a:pathLst>
            </a:custGeom>
            <a:solidFill>
              <a:srgbClr val="CCCCC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05" dirty="0"/>
            </a:p>
          </p:txBody>
        </p:sp>
        <p:sp>
          <p:nvSpPr>
            <p:cNvPr id="52" name="Freeform: Shape 51"/>
            <p:cNvSpPr/>
            <p:nvPr/>
          </p:nvSpPr>
          <p:spPr>
            <a:xfrm>
              <a:off x="4438629" y="6215033"/>
              <a:ext cx="1618413" cy="184076"/>
            </a:xfrm>
            <a:custGeom>
              <a:avLst/>
              <a:gdLst>
                <a:gd name="connsiteX0" fmla="*/ 1478513 w 1618413"/>
                <a:gd name="connsiteY0" fmla="*/ 177499 h 184076"/>
                <a:gd name="connsiteX1" fmla="*/ 1485084 w 1618413"/>
                <a:gd name="connsiteY1" fmla="*/ 177499 h 184076"/>
                <a:gd name="connsiteX2" fmla="*/ 1502686 w 1618413"/>
                <a:gd name="connsiteY2" fmla="*/ 178122 h 184076"/>
                <a:gd name="connsiteX3" fmla="*/ 1499879 w 1618413"/>
                <a:gd name="connsiteY3" fmla="*/ 178526 h 184076"/>
                <a:gd name="connsiteX4" fmla="*/ 1478513 w 1618413"/>
                <a:gd name="connsiteY4" fmla="*/ 177499 h 184076"/>
                <a:gd name="connsiteX5" fmla="*/ 84799 w 1618413"/>
                <a:gd name="connsiteY5" fmla="*/ 170928 h 184076"/>
                <a:gd name="connsiteX6" fmla="*/ 117666 w 1618413"/>
                <a:gd name="connsiteY6" fmla="*/ 177499 h 184076"/>
                <a:gd name="connsiteX7" fmla="*/ 104518 w 1618413"/>
                <a:gd name="connsiteY7" fmla="*/ 177499 h 184076"/>
                <a:gd name="connsiteX8" fmla="*/ 84799 w 1618413"/>
                <a:gd name="connsiteY8" fmla="*/ 170928 h 184076"/>
                <a:gd name="connsiteX9" fmla="*/ 1603418 w 1618413"/>
                <a:gd name="connsiteY9" fmla="*/ 0 h 184076"/>
                <a:gd name="connsiteX10" fmla="*/ 1616567 w 1618413"/>
                <a:gd name="connsiteY10" fmla="*/ 0 h 184076"/>
                <a:gd name="connsiteX11" fmla="*/ 1511177 w 1618413"/>
                <a:gd name="connsiteY11" fmla="*/ 178423 h 184076"/>
                <a:gd name="connsiteX12" fmla="*/ 1502686 w 1618413"/>
                <a:gd name="connsiteY12" fmla="*/ 178122 h 184076"/>
                <a:gd name="connsiteX13" fmla="*/ 1521501 w 1618413"/>
                <a:gd name="connsiteY13" fmla="*/ 175419 h 184076"/>
                <a:gd name="connsiteX14" fmla="*/ 1603418 w 1618413"/>
                <a:gd name="connsiteY14" fmla="*/ 6571 h 184076"/>
                <a:gd name="connsiteX15" fmla="*/ 5911 w 1618413"/>
                <a:gd name="connsiteY15" fmla="*/ 0 h 184076"/>
                <a:gd name="connsiteX16" fmla="*/ 19060 w 1618413"/>
                <a:gd name="connsiteY16" fmla="*/ 6571 h 184076"/>
                <a:gd name="connsiteX17" fmla="*/ 91379 w 1618413"/>
                <a:gd name="connsiteY17" fmla="*/ 184076 h 184076"/>
                <a:gd name="connsiteX18" fmla="*/ 5911 w 1618413"/>
                <a:gd name="connsiteY18" fmla="*/ 0 h 184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8413" h="184076">
                  <a:moveTo>
                    <a:pt x="1478513" y="177499"/>
                  </a:moveTo>
                  <a:lnTo>
                    <a:pt x="1485084" y="177499"/>
                  </a:lnTo>
                  <a:lnTo>
                    <a:pt x="1502686" y="178122"/>
                  </a:lnTo>
                  <a:lnTo>
                    <a:pt x="1499879" y="178526"/>
                  </a:lnTo>
                  <a:cubicBezTo>
                    <a:pt x="1487142" y="179142"/>
                    <a:pt x="1478513" y="177499"/>
                    <a:pt x="1478513" y="177499"/>
                  </a:cubicBezTo>
                  <a:close/>
                  <a:moveTo>
                    <a:pt x="84799" y="170928"/>
                  </a:moveTo>
                  <a:cubicBezTo>
                    <a:pt x="97947" y="177499"/>
                    <a:pt x="104518" y="177499"/>
                    <a:pt x="117666" y="177499"/>
                  </a:cubicBezTo>
                  <a:lnTo>
                    <a:pt x="104518" y="177499"/>
                  </a:lnTo>
                  <a:cubicBezTo>
                    <a:pt x="97947" y="177499"/>
                    <a:pt x="91370" y="177499"/>
                    <a:pt x="84799" y="170928"/>
                  </a:cubicBezTo>
                  <a:close/>
                  <a:moveTo>
                    <a:pt x="1603418" y="0"/>
                  </a:moveTo>
                  <a:lnTo>
                    <a:pt x="1616567" y="0"/>
                  </a:lnTo>
                  <a:cubicBezTo>
                    <a:pt x="1631361" y="152847"/>
                    <a:pt x="1553705" y="176266"/>
                    <a:pt x="1511177" y="178423"/>
                  </a:cubicBezTo>
                  <a:lnTo>
                    <a:pt x="1502686" y="178122"/>
                  </a:lnTo>
                  <a:lnTo>
                    <a:pt x="1521501" y="175419"/>
                  </a:lnTo>
                  <a:cubicBezTo>
                    <a:pt x="1560791" y="165788"/>
                    <a:pt x="1611636" y="129836"/>
                    <a:pt x="1603418" y="6571"/>
                  </a:cubicBezTo>
                  <a:close/>
                  <a:moveTo>
                    <a:pt x="5911" y="0"/>
                  </a:moveTo>
                  <a:lnTo>
                    <a:pt x="19060" y="6571"/>
                  </a:lnTo>
                  <a:cubicBezTo>
                    <a:pt x="19060" y="6571"/>
                    <a:pt x="-20385" y="144631"/>
                    <a:pt x="91379" y="184076"/>
                  </a:cubicBezTo>
                  <a:cubicBezTo>
                    <a:pt x="-33534" y="151202"/>
                    <a:pt x="5911" y="0"/>
                    <a:pt x="5911" y="0"/>
                  </a:cubicBezTo>
                  <a:close/>
                </a:path>
              </a:pathLst>
            </a:custGeom>
            <a:solidFill>
              <a:srgbClr val="4D4D4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05"/>
            </a:p>
          </p:txBody>
        </p:sp>
        <p:grpSp>
          <p:nvGrpSpPr>
            <p:cNvPr id="53" name="Group 52"/>
            <p:cNvGrpSpPr/>
            <p:nvPr/>
          </p:nvGrpSpPr>
          <p:grpSpPr>
            <a:xfrm>
              <a:off x="1606" y="6382978"/>
              <a:ext cx="413937" cy="115242"/>
              <a:chOff x="5955" y="6353672"/>
              <a:chExt cx="413937" cy="115242"/>
            </a:xfrm>
          </p:grpSpPr>
          <p:sp>
            <p:nvSpPr>
              <p:cNvPr id="58" name="Rectangle: Rounded Corners 57"/>
              <p:cNvSpPr/>
              <p:nvPr/>
            </p:nvSpPr>
            <p:spPr>
              <a:xfrm>
                <a:off x="5955" y="6353672"/>
                <a:ext cx="413937" cy="115242"/>
              </a:xfrm>
              <a:prstGeom prst="roundRect">
                <a:avLst>
                  <a:gd name="adj" fmla="val 28154"/>
                </a:avLst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05"/>
              </a:p>
            </p:txBody>
          </p:sp>
          <p:sp>
            <p:nvSpPr>
              <p:cNvPr id="59" name="Rectangle: Rounded Corners 58"/>
              <p:cNvSpPr/>
              <p:nvPr/>
            </p:nvSpPr>
            <p:spPr>
              <a:xfrm>
                <a:off x="99417" y="6382279"/>
                <a:ext cx="227012" cy="55272"/>
              </a:xfrm>
              <a:prstGeom prst="roundRect">
                <a:avLst>
                  <a:gd name="adj" fmla="val 28154"/>
                </a:avLst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05"/>
              </a:p>
            </p:txBody>
          </p:sp>
        </p:grpSp>
        <p:grpSp>
          <p:nvGrpSpPr>
            <p:cNvPr id="54" name="Group 53"/>
            <p:cNvGrpSpPr/>
            <p:nvPr/>
          </p:nvGrpSpPr>
          <p:grpSpPr>
            <a:xfrm>
              <a:off x="9855291" y="6381600"/>
              <a:ext cx="885989" cy="115242"/>
              <a:chOff x="5955" y="6353672"/>
              <a:chExt cx="413937" cy="115242"/>
            </a:xfrm>
          </p:grpSpPr>
          <p:sp>
            <p:nvSpPr>
              <p:cNvPr id="56" name="Rectangle: Rounded Corners 55"/>
              <p:cNvSpPr/>
              <p:nvPr/>
            </p:nvSpPr>
            <p:spPr>
              <a:xfrm>
                <a:off x="5955" y="6353672"/>
                <a:ext cx="413937" cy="115242"/>
              </a:xfrm>
              <a:prstGeom prst="roundRect">
                <a:avLst>
                  <a:gd name="adj" fmla="val 28154"/>
                </a:avLst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05"/>
              </a:p>
            </p:txBody>
          </p:sp>
          <p:sp>
            <p:nvSpPr>
              <p:cNvPr id="57" name="Rectangle: Rounded Corners 56"/>
              <p:cNvSpPr/>
              <p:nvPr/>
            </p:nvSpPr>
            <p:spPr>
              <a:xfrm>
                <a:off x="84761" y="6382279"/>
                <a:ext cx="256326" cy="55272"/>
              </a:xfrm>
              <a:prstGeom prst="roundRect">
                <a:avLst>
                  <a:gd name="adj" fmla="val 28154"/>
                </a:avLst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05" dirty="0"/>
              </a:p>
            </p:txBody>
          </p:sp>
        </p:grpSp>
        <p:sp>
          <p:nvSpPr>
            <p:cNvPr id="55" name="Freeform: Shape 54"/>
            <p:cNvSpPr/>
            <p:nvPr/>
          </p:nvSpPr>
          <p:spPr>
            <a:xfrm>
              <a:off x="3892805" y="496953"/>
              <a:ext cx="5479036" cy="5431217"/>
            </a:xfrm>
            <a:custGeom>
              <a:avLst/>
              <a:gdLst>
                <a:gd name="connsiteX0" fmla="*/ 2567127 w 4009217"/>
                <a:gd name="connsiteY0" fmla="*/ 30683 h 4295590"/>
                <a:gd name="connsiteX1" fmla="*/ 3798529 w 4009217"/>
                <a:gd name="connsiteY1" fmla="*/ 30683 h 4295590"/>
                <a:gd name="connsiteX2" fmla="*/ 4007172 w 4009217"/>
                <a:gd name="connsiteY2" fmla="*/ 272054 h 4295590"/>
                <a:gd name="connsiteX3" fmla="*/ 3998990 w 4009217"/>
                <a:gd name="connsiteY3" fmla="*/ 4268999 h 4295590"/>
                <a:gd name="connsiteX4" fmla="*/ 30683 w 4009217"/>
                <a:gd name="connsiteY4" fmla="*/ 4268999 h 4295590"/>
                <a:gd name="connsiteX0-1" fmla="*/ 2536444 w 3976489"/>
                <a:gd name="connsiteY0-2" fmla="*/ 0 h 4238316"/>
                <a:gd name="connsiteX1-3" fmla="*/ 3976489 w 3976489"/>
                <a:gd name="connsiteY1-4" fmla="*/ 241371 h 4238316"/>
                <a:gd name="connsiteX2-5" fmla="*/ 3968307 w 3976489"/>
                <a:gd name="connsiteY2-6" fmla="*/ 4238316 h 4238316"/>
                <a:gd name="connsiteX3-7" fmla="*/ 0 w 3976489"/>
                <a:gd name="connsiteY3-8" fmla="*/ 4238316 h 4238316"/>
                <a:gd name="connsiteX0-9" fmla="*/ 2536444 w 3976489"/>
                <a:gd name="connsiteY0-10" fmla="*/ 0 h 4238316"/>
                <a:gd name="connsiteX1-11" fmla="*/ 3976489 w 3976489"/>
                <a:gd name="connsiteY1-12" fmla="*/ 213683 h 4238316"/>
                <a:gd name="connsiteX2-13" fmla="*/ 3968307 w 3976489"/>
                <a:gd name="connsiteY2-14" fmla="*/ 4238316 h 4238316"/>
                <a:gd name="connsiteX3-15" fmla="*/ 0 w 3976489"/>
                <a:gd name="connsiteY3-16" fmla="*/ 4238316 h 4238316"/>
                <a:gd name="connsiteX0-17" fmla="*/ 2473335 w 3976489"/>
                <a:gd name="connsiteY0-18" fmla="*/ 0 h 4035268"/>
                <a:gd name="connsiteX1-19" fmla="*/ 3976489 w 3976489"/>
                <a:gd name="connsiteY1-20" fmla="*/ 10635 h 4035268"/>
                <a:gd name="connsiteX2-21" fmla="*/ 3968307 w 3976489"/>
                <a:gd name="connsiteY2-22" fmla="*/ 4035268 h 4035268"/>
                <a:gd name="connsiteX3-23" fmla="*/ 0 w 3976489"/>
                <a:gd name="connsiteY3-24" fmla="*/ 4035268 h 403526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3976489" h="4035268">
                  <a:moveTo>
                    <a:pt x="2473335" y="0"/>
                  </a:moveTo>
                  <a:lnTo>
                    <a:pt x="3976489" y="10635"/>
                  </a:lnTo>
                  <a:cubicBezTo>
                    <a:pt x="3973762" y="1342950"/>
                    <a:pt x="3971034" y="2702953"/>
                    <a:pt x="3968307" y="4035268"/>
                  </a:cubicBezTo>
                  <a:lnTo>
                    <a:pt x="0" y="4035268"/>
                  </a:lnTo>
                </a:path>
              </a:pathLst>
            </a:custGeom>
            <a:solidFill>
              <a:srgbClr val="999999">
                <a:alpha val="1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05" dirty="0"/>
            </a:p>
          </p:txBody>
        </p:sp>
      </p:grpSp>
      <p:sp>
        <p:nvSpPr>
          <p:cNvPr id="17" name="Oval 20"/>
          <p:cNvSpPr/>
          <p:nvPr userDrawn="1"/>
        </p:nvSpPr>
        <p:spPr>
          <a:xfrm>
            <a:off x="5735328" y="3923866"/>
            <a:ext cx="5906469" cy="523358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softEdge rad="2032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45"/>
          </a:p>
        </p:txBody>
      </p:sp>
      <p:sp>
        <p:nvSpPr>
          <p:cNvPr id="18" name="Oval 21"/>
          <p:cNvSpPr/>
          <p:nvPr userDrawn="1"/>
        </p:nvSpPr>
        <p:spPr>
          <a:xfrm>
            <a:off x="519551" y="3923866"/>
            <a:ext cx="5906469" cy="523358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softEdge rad="2032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45"/>
          </a:p>
        </p:txBody>
      </p:sp>
      <p:sp>
        <p:nvSpPr>
          <p:cNvPr id="20" name="그림 개체 틀 2"/>
          <p:cNvSpPr>
            <a:spLocks noGrp="1"/>
          </p:cNvSpPr>
          <p:nvPr>
            <p:ph type="pic" sz="quarter" idx="10" hasCustomPrompt="1"/>
          </p:nvPr>
        </p:nvSpPr>
        <p:spPr>
          <a:xfrm>
            <a:off x="2105282" y="2195569"/>
            <a:ext cx="2745151" cy="1694195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anchor="ctr"/>
          <a:lstStyle>
            <a:lvl1pPr marL="0" indent="0" algn="ctr">
              <a:buFontTx/>
              <a:buNone/>
              <a:defRPr sz="73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323530" y="339513"/>
            <a:ext cx="11573199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90" b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0" y="6597857"/>
            <a:ext cx="12192000" cy="260147"/>
            <a:chOff x="4379494" y="697832"/>
            <a:chExt cx="2586787" cy="168442"/>
          </a:xfrm>
        </p:grpSpPr>
        <p:sp>
          <p:nvSpPr>
            <p:cNvPr id="21" name="Rectangle 20"/>
            <p:cNvSpPr/>
            <p:nvPr/>
          </p:nvSpPr>
          <p:spPr>
            <a:xfrm>
              <a:off x="4379494" y="697832"/>
              <a:ext cx="517358" cy="16844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705"/>
            </a:p>
          </p:txBody>
        </p:sp>
        <p:sp>
          <p:nvSpPr>
            <p:cNvPr id="22" name="Rectangle 21"/>
            <p:cNvSpPr/>
            <p:nvPr/>
          </p:nvSpPr>
          <p:spPr>
            <a:xfrm>
              <a:off x="4896852" y="697832"/>
              <a:ext cx="517358" cy="16844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705"/>
            </a:p>
          </p:txBody>
        </p:sp>
        <p:sp>
          <p:nvSpPr>
            <p:cNvPr id="31" name="Rectangle 30"/>
            <p:cNvSpPr/>
            <p:nvPr/>
          </p:nvSpPr>
          <p:spPr>
            <a:xfrm>
              <a:off x="5414209" y="697832"/>
              <a:ext cx="517358" cy="16844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705"/>
            </a:p>
          </p:txBody>
        </p:sp>
        <p:sp>
          <p:nvSpPr>
            <p:cNvPr id="32" name="Rectangle 31"/>
            <p:cNvSpPr/>
            <p:nvPr/>
          </p:nvSpPr>
          <p:spPr>
            <a:xfrm>
              <a:off x="5931566" y="697832"/>
              <a:ext cx="517358" cy="1684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705"/>
            </a:p>
          </p:txBody>
        </p:sp>
        <p:sp>
          <p:nvSpPr>
            <p:cNvPr id="33" name="Rectangle 32"/>
            <p:cNvSpPr/>
            <p:nvPr/>
          </p:nvSpPr>
          <p:spPr>
            <a:xfrm>
              <a:off x="6448923" y="697832"/>
              <a:ext cx="517358" cy="1684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705"/>
            </a:p>
          </p:txBody>
        </p:sp>
      </p:grpSp>
      <p:sp>
        <p:nvSpPr>
          <p:cNvPr id="60" name="그림 개체 틀 2"/>
          <p:cNvSpPr>
            <a:spLocks noGrp="1"/>
          </p:cNvSpPr>
          <p:nvPr>
            <p:ph type="pic" sz="quarter" idx="16" hasCustomPrompt="1"/>
          </p:nvPr>
        </p:nvSpPr>
        <p:spPr>
          <a:xfrm>
            <a:off x="7305466" y="2195569"/>
            <a:ext cx="2745151" cy="1694195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anchor="ctr"/>
          <a:lstStyle>
            <a:lvl1pPr marL="0" indent="0" algn="ctr">
              <a:buFontTx/>
              <a:buNone/>
              <a:defRPr sz="73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" y="5949280"/>
            <a:ext cx="11459897" cy="7920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95"/>
          </a:p>
        </p:txBody>
      </p:sp>
      <p:sp>
        <p:nvSpPr>
          <p:cNvPr id="10" name="제목 1"/>
          <p:cNvSpPr>
            <a:spLocks noGrp="1"/>
          </p:cNvSpPr>
          <p:nvPr>
            <p:ph type="title" hasCustomPrompt="1"/>
          </p:nvPr>
        </p:nvSpPr>
        <p:spPr>
          <a:xfrm>
            <a:off x="815416" y="6021289"/>
            <a:ext cx="10561173" cy="648072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2925" b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altLang="ko-KR" dirty="0"/>
              <a:t>IMAGES AND CONTENTS</a:t>
            </a:r>
            <a:endParaRPr lang="ko-KR" altLang="en-US" dirty="0"/>
          </a:p>
        </p:txBody>
      </p:sp>
      <p:sp>
        <p:nvSpPr>
          <p:cNvPr id="2" name="Rectangle 1"/>
          <p:cNvSpPr/>
          <p:nvPr userDrawn="1"/>
        </p:nvSpPr>
        <p:spPr>
          <a:xfrm>
            <a:off x="237266" y="188640"/>
            <a:ext cx="5800825" cy="23762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95">
              <a:latin typeface="+mn-lt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58509" y="188640"/>
            <a:ext cx="5832243" cy="23762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95">
              <a:latin typeface="+mn-lt"/>
            </a:endParaRPr>
          </a:p>
        </p:txBody>
      </p:sp>
      <p:sp>
        <p:nvSpPr>
          <p:cNvPr id="7" name="Picture Placeholder 2"/>
          <p:cNvSpPr>
            <a:spLocks noGrp="1"/>
          </p:cNvSpPr>
          <p:nvPr>
            <p:ph type="pic" idx="15" hasCustomPrompt="1"/>
          </p:nvPr>
        </p:nvSpPr>
        <p:spPr>
          <a:xfrm>
            <a:off x="237267" y="302189"/>
            <a:ext cx="3266447" cy="21491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73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anose="020B0604020202020204" pitchFamily="34" charset="0"/>
              </a:defRPr>
            </a:lvl1pPr>
            <a:lvl2pPr marL="278765" indent="0">
              <a:buNone/>
              <a:defRPr sz="1705"/>
            </a:lvl2pPr>
            <a:lvl3pPr marL="557530" indent="0">
              <a:buNone/>
              <a:defRPr sz="1465"/>
            </a:lvl3pPr>
            <a:lvl4pPr marL="835660" indent="0">
              <a:buNone/>
              <a:defRPr sz="1220"/>
            </a:lvl4pPr>
            <a:lvl5pPr marL="1114425" indent="0">
              <a:buNone/>
              <a:defRPr sz="1220"/>
            </a:lvl5pPr>
            <a:lvl6pPr marL="1393190" indent="0">
              <a:buNone/>
              <a:defRPr sz="1220"/>
            </a:lvl6pPr>
            <a:lvl7pPr marL="1671955" indent="0">
              <a:buNone/>
              <a:defRPr sz="1220"/>
            </a:lvl7pPr>
            <a:lvl8pPr marL="1950085" indent="0">
              <a:buNone/>
              <a:defRPr sz="1220"/>
            </a:lvl8pPr>
            <a:lvl9pPr marL="2228850" indent="0">
              <a:buNone/>
              <a:defRPr sz="122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idx="16" hasCustomPrompt="1"/>
          </p:nvPr>
        </p:nvSpPr>
        <p:spPr>
          <a:xfrm>
            <a:off x="6158510" y="302189"/>
            <a:ext cx="3266447" cy="21491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73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anose="020B0604020202020204" pitchFamily="34" charset="0"/>
              </a:defRPr>
            </a:lvl1pPr>
            <a:lvl2pPr marL="278765" indent="0">
              <a:buNone/>
              <a:defRPr sz="1705"/>
            </a:lvl2pPr>
            <a:lvl3pPr marL="557530" indent="0">
              <a:buNone/>
              <a:defRPr sz="1465"/>
            </a:lvl3pPr>
            <a:lvl4pPr marL="835660" indent="0">
              <a:buNone/>
              <a:defRPr sz="1220"/>
            </a:lvl4pPr>
            <a:lvl5pPr marL="1114425" indent="0">
              <a:buNone/>
              <a:defRPr sz="1220"/>
            </a:lvl5pPr>
            <a:lvl6pPr marL="1393190" indent="0">
              <a:buNone/>
              <a:defRPr sz="1220"/>
            </a:lvl6pPr>
            <a:lvl7pPr marL="1671955" indent="0">
              <a:buNone/>
              <a:defRPr sz="1220"/>
            </a:lvl7pPr>
            <a:lvl8pPr marL="1950085" indent="0">
              <a:buNone/>
              <a:defRPr sz="1220"/>
            </a:lvl8pPr>
            <a:lvl9pPr marL="2228850" indent="0">
              <a:buNone/>
              <a:defRPr sz="122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idx="17" hasCustomPrompt="1"/>
          </p:nvPr>
        </p:nvSpPr>
        <p:spPr>
          <a:xfrm>
            <a:off x="5262665" y="2708920"/>
            <a:ext cx="6929337" cy="316835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73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anose="020B0604020202020204" pitchFamily="34" charset="0"/>
              </a:defRPr>
            </a:lvl1pPr>
            <a:lvl2pPr marL="278765" indent="0">
              <a:buNone/>
              <a:defRPr sz="1705"/>
            </a:lvl2pPr>
            <a:lvl3pPr marL="557530" indent="0">
              <a:buNone/>
              <a:defRPr sz="1465"/>
            </a:lvl3pPr>
            <a:lvl4pPr marL="835660" indent="0">
              <a:buNone/>
              <a:defRPr sz="1220"/>
            </a:lvl4pPr>
            <a:lvl5pPr marL="1114425" indent="0">
              <a:buNone/>
              <a:defRPr sz="1220"/>
            </a:lvl5pPr>
            <a:lvl6pPr marL="1393190" indent="0">
              <a:buNone/>
              <a:defRPr sz="1220"/>
            </a:lvl6pPr>
            <a:lvl7pPr marL="1671955" indent="0">
              <a:buNone/>
              <a:defRPr sz="1220"/>
            </a:lvl7pPr>
            <a:lvl8pPr marL="1950085" indent="0">
              <a:buNone/>
              <a:defRPr sz="1220"/>
            </a:lvl8pPr>
            <a:lvl9pPr marL="2228850" indent="0">
              <a:buNone/>
              <a:defRPr sz="122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NG sets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30" y="245396"/>
            <a:ext cx="11573199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9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altLang="ko-KR" dirty="0"/>
              <a:t>PNG &amp; Shapes Layout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con s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30" y="123478"/>
            <a:ext cx="11573199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9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altLang="ko-KR" dirty="0"/>
              <a:t>Icon Sets Layout</a:t>
            </a:r>
          </a:p>
        </p:txBody>
      </p:sp>
      <p:sp>
        <p:nvSpPr>
          <p:cNvPr id="3" name="Rounded Rectangle 2"/>
          <p:cNvSpPr/>
          <p:nvPr userDrawn="1"/>
        </p:nvSpPr>
        <p:spPr>
          <a:xfrm>
            <a:off x="354014" y="1131592"/>
            <a:ext cx="3560767" cy="5402561"/>
          </a:xfrm>
          <a:prstGeom prst="roundRect">
            <a:avLst>
              <a:gd name="adj" fmla="val 396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25"/>
          </a:p>
        </p:txBody>
      </p:sp>
      <p:sp>
        <p:nvSpPr>
          <p:cNvPr id="4" name="Rounded Rectangle 3"/>
          <p:cNvSpPr/>
          <p:nvPr userDrawn="1"/>
        </p:nvSpPr>
        <p:spPr>
          <a:xfrm>
            <a:off x="531933" y="1347500"/>
            <a:ext cx="153868" cy="5015200"/>
          </a:xfrm>
          <a:prstGeom prst="roundRect">
            <a:avLst>
              <a:gd name="adj" fmla="val 5000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25">
              <a:solidFill>
                <a:schemeClr val="bg1"/>
              </a:solidFill>
            </a:endParaRPr>
          </a:p>
        </p:txBody>
      </p:sp>
      <p:sp>
        <p:nvSpPr>
          <p:cNvPr id="5" name="Half Frame 4"/>
          <p:cNvSpPr/>
          <p:nvPr userDrawn="1"/>
        </p:nvSpPr>
        <p:spPr>
          <a:xfrm rot="5400000">
            <a:off x="3057180" y="1276655"/>
            <a:ext cx="685849" cy="685148"/>
          </a:xfrm>
          <a:prstGeom prst="halfFrame">
            <a:avLst>
              <a:gd name="adj1" fmla="val 23728"/>
              <a:gd name="adj2" fmla="val 24642"/>
            </a:avLst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825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8" name="TextBox 57"/>
          <p:cNvSpPr txBox="1"/>
          <p:nvPr userDrawn="1"/>
        </p:nvSpPr>
        <p:spPr>
          <a:xfrm>
            <a:off x="711705" y="1786934"/>
            <a:ext cx="2232249" cy="22377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855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 can Resize without losing quality</a:t>
            </a:r>
            <a:endParaRPr lang="ko-KR" altLang="en-US" sz="855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TextBox 58"/>
          <p:cNvSpPr txBox="1"/>
          <p:nvPr userDrawn="1"/>
        </p:nvSpPr>
        <p:spPr>
          <a:xfrm>
            <a:off x="711705" y="2319185"/>
            <a:ext cx="2232249" cy="35522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855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 can Change Fill Color &amp;</a:t>
            </a:r>
          </a:p>
          <a:p>
            <a:r>
              <a:rPr lang="en-US" altLang="ko-KR" sz="855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e Color</a:t>
            </a:r>
            <a:endParaRPr lang="ko-KR" altLang="en-US" sz="855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TextBox 59"/>
          <p:cNvSpPr txBox="1"/>
          <p:nvPr userDrawn="1"/>
        </p:nvSpPr>
        <p:spPr>
          <a:xfrm>
            <a:off x="721231" y="5850438"/>
            <a:ext cx="2232000" cy="22377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85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allppt.com</a:t>
            </a:r>
            <a:endParaRPr lang="ko-KR" altLang="en-US" sz="855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TextBox 60"/>
          <p:cNvSpPr txBox="1"/>
          <p:nvPr userDrawn="1"/>
        </p:nvSpPr>
        <p:spPr>
          <a:xfrm>
            <a:off x="721231" y="4834148"/>
            <a:ext cx="2717296" cy="61734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705" b="1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FREE </a:t>
            </a:r>
          </a:p>
          <a:p>
            <a:r>
              <a:rPr lang="en-US" altLang="ko-KR" sz="1705" b="1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PPT TEMPLATES</a:t>
            </a: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713DA2-A442-434B-A81A-2377817B1BAE}" type="datetime1">
              <a:rPr lang="en-US" smtClean="0"/>
              <a:pPr/>
              <a:t>3/1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68012" y="6356357"/>
            <a:ext cx="2743200" cy="365125"/>
          </a:xfrm>
        </p:spPr>
        <p:txBody>
          <a:bodyPr/>
          <a:lstStyle/>
          <a:p>
            <a:fld id="{8E8520C1-A2B4-4D2B-B55A-8111498F7326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0338" y="229852"/>
            <a:ext cx="8372191" cy="448794"/>
          </a:xfrm>
          <a:prstGeom prst="rect">
            <a:avLst/>
          </a:prstGeom>
        </p:spPr>
        <p:txBody>
          <a:bodyPr/>
          <a:lstStyle>
            <a:lvl1pPr>
              <a:defRPr sz="2800" b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th-TH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10336" y="738467"/>
            <a:ext cx="6384001" cy="2858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/>
          <a:srcRect t="1" r="85839" b="-6106"/>
          <a:stretch>
            <a:fillRect/>
          </a:stretch>
        </p:blipFill>
        <p:spPr>
          <a:xfrm>
            <a:off x="11155675" y="66995"/>
            <a:ext cx="886920" cy="54328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/>
          <a:srcRect t="1" r="85839" b="-6106"/>
          <a:stretch>
            <a:fillRect/>
          </a:stretch>
        </p:blipFill>
        <p:spPr>
          <a:xfrm>
            <a:off x="11155675" y="66995"/>
            <a:ext cx="886920" cy="54328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55158" b="72627"/>
          <a:stretch>
            <a:fillRect/>
          </a:stretch>
        </p:blipFill>
        <p:spPr>
          <a:xfrm>
            <a:off x="10381735" y="117081"/>
            <a:ext cx="1562770" cy="65842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rallelogram 2"/>
          <p:cNvSpPr/>
          <p:nvPr userDrawn="1"/>
        </p:nvSpPr>
        <p:spPr>
          <a:xfrm>
            <a:off x="-1056350" y="3512321"/>
            <a:ext cx="10752979" cy="1213503"/>
          </a:xfrm>
          <a:prstGeom prst="parallelogram">
            <a:avLst>
              <a:gd name="adj" fmla="val 61935"/>
            </a:avLst>
          </a:prstGeom>
          <a:solidFill>
            <a:schemeClr val="accent5">
              <a:lumMod val="20000"/>
              <a:lumOff val="80000"/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th-TH" sz="28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8720" y="3703549"/>
            <a:ext cx="9872529" cy="756363"/>
          </a:xfrm>
          <a:prstGeom prst="rect">
            <a:avLst/>
          </a:prstGeom>
        </p:spPr>
        <p:txBody>
          <a:bodyPr/>
          <a:lstStyle>
            <a:lvl1pPr>
              <a:defRPr b="0" i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endParaRPr lang="th-TH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/>
        </p:nvGrpSpPr>
        <p:grpSpPr>
          <a:xfrm>
            <a:off x="1" y="-6827"/>
            <a:ext cx="12192000" cy="6864830"/>
            <a:chOff x="2485902" y="0"/>
            <a:chExt cx="9704690" cy="6858000"/>
          </a:xfrm>
        </p:grpSpPr>
        <p:grpSp>
          <p:nvGrpSpPr>
            <p:cNvPr id="12" name="Group 11"/>
            <p:cNvGrpSpPr/>
            <p:nvPr userDrawn="1"/>
          </p:nvGrpSpPr>
          <p:grpSpPr>
            <a:xfrm>
              <a:off x="2485902" y="0"/>
              <a:ext cx="9704690" cy="6858000"/>
              <a:chOff x="2485902" y="0"/>
              <a:chExt cx="9704690" cy="6858000"/>
            </a:xfrm>
          </p:grpSpPr>
          <p:pic>
            <p:nvPicPr>
              <p:cNvPr id="14" name="Picture 13"/>
              <p:cNvPicPr>
                <a:picLocks noChangeAspect="1"/>
              </p:cNvPicPr>
              <p:nvPr userDrawn="1"/>
            </p:nvPicPr>
            <p:blipFill rotWithShape="1">
              <a:blip r:embed="rId2" cstate="print"/>
              <a:srcRect/>
              <a:stretch>
                <a:fillRect/>
              </a:stretch>
            </p:blipFill>
            <p:spPr>
              <a:xfrm>
                <a:off x="2485902" y="0"/>
                <a:ext cx="9704690" cy="6858000"/>
              </a:xfrm>
              <a:prstGeom prst="rect">
                <a:avLst/>
              </a:prstGeom>
            </p:spPr>
          </p:pic>
          <p:sp>
            <p:nvSpPr>
              <p:cNvPr id="15" name="Rectangle 14"/>
              <p:cNvSpPr/>
              <p:nvPr userDrawn="1"/>
            </p:nvSpPr>
            <p:spPr>
              <a:xfrm>
                <a:off x="10292316" y="5923128"/>
                <a:ext cx="1339703" cy="8284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US" sz="1630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13" name="Rectangle 12"/>
            <p:cNvSpPr/>
            <p:nvPr userDrawn="1"/>
          </p:nvSpPr>
          <p:spPr>
            <a:xfrm>
              <a:off x="10809027" y="6060141"/>
              <a:ext cx="1278589" cy="6913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630">
                <a:solidFill>
                  <a:prstClr val="white"/>
                </a:solidFill>
              </a:endParaRPr>
            </a:p>
          </p:txBody>
        </p:sp>
      </p:grp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184845" y="513618"/>
            <a:ext cx="10588711" cy="326736"/>
          </a:xfrm>
        </p:spPr>
        <p:txBody>
          <a:bodyPr>
            <a:noAutofit/>
          </a:bodyPr>
          <a:lstStyle>
            <a:lvl1pPr>
              <a:defRPr sz="2715" b="1" i="0">
                <a:solidFill>
                  <a:schemeClr val="tx1"/>
                </a:solidFill>
                <a:latin typeface="+mn-lt"/>
                <a:cs typeface="DB Heavent" panose="02000506060000020004" pitchFamily="2" charset="-34"/>
              </a:defRPr>
            </a:lvl1pPr>
          </a:lstStyle>
          <a:p>
            <a:r>
              <a:rPr lang="en-US" dirty="0"/>
              <a:t>Title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224460" y="6059347"/>
            <a:ext cx="1472897" cy="587458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9807201" y="5886106"/>
            <a:ext cx="2255436" cy="9358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2715">
              <a:solidFill>
                <a:prstClr val="white"/>
              </a:solidFill>
            </a:endParaRPr>
          </a:p>
        </p:txBody>
      </p:sp>
      <p:sp>
        <p:nvSpPr>
          <p:cNvPr id="19" name="Slide number"/>
          <p:cNvSpPr>
            <a:spLocks noChangeArrowheads="1"/>
          </p:cNvSpPr>
          <p:nvPr/>
        </p:nvSpPr>
        <p:spPr bwMode="gray">
          <a:xfrm>
            <a:off x="11292638" y="55516"/>
            <a:ext cx="623396" cy="16042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/>
          <a:p>
            <a:pPr algn="r" defTabSz="84582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altLang="zh-TW" sz="127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</a:t>
            </a:r>
            <a:fld id="{C478955F-3D9D-418A-BED8-D378AAD081DA}" type="slidenum">
              <a:rPr lang="en-GB" altLang="zh-TW" sz="127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 algn="r" defTabSz="84582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r>
              <a:rPr lang="en-GB" altLang="zh-TW" sz="127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tags" Target="../tags/tag20.xml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tags" Target="../tags/tag1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5" Type="http://schemas.openxmlformats.org/officeDocument/2006/relationships/slideLayout" Target="../slideLayouts/slideLayout7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theme" Target="../theme/theme4.xml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theme" Target="../theme/theme5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68652" y="2364319"/>
            <a:ext cx="5854700" cy="16425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en-US" altLang="th-TH"/>
              <a:t>Click to edit Master text styles</a:t>
            </a:r>
          </a:p>
          <a:p>
            <a:pPr lvl="1"/>
            <a:r>
              <a:rPr lang="en-US" altLang="th-TH"/>
              <a:t>Second level</a:t>
            </a:r>
          </a:p>
          <a:p>
            <a:pPr lvl="2"/>
            <a:r>
              <a:rPr lang="en-US" altLang="th-TH"/>
              <a:t>Third level</a:t>
            </a:r>
          </a:p>
          <a:p>
            <a:pPr lvl="3"/>
            <a:r>
              <a:rPr lang="en-US" altLang="th-TH"/>
              <a:t>Fourth level</a:t>
            </a:r>
          </a:p>
          <a:p>
            <a:pPr lvl="4"/>
            <a:r>
              <a:rPr lang="en-US" altLang="th-TH"/>
              <a:t>Fifth level</a:t>
            </a:r>
          </a:p>
        </p:txBody>
      </p:sp>
      <p:sp>
        <p:nvSpPr>
          <p:cNvPr id="1028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83633" y="234952"/>
            <a:ext cx="11726334" cy="389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en-US" altLang="th-TH"/>
              <a:t>Click to edit Master title style</a:t>
            </a:r>
          </a:p>
        </p:txBody>
      </p:sp>
      <p:sp>
        <p:nvSpPr>
          <p:cNvPr id="1029" name="McK 1. On-page tracker" hidden="1"/>
          <p:cNvSpPr>
            <a:spLocks noChangeArrowheads="1"/>
          </p:cNvSpPr>
          <p:nvPr/>
        </p:nvSpPr>
        <p:spPr bwMode="auto">
          <a:xfrm>
            <a:off x="283634" y="16933"/>
            <a:ext cx="1164083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912495"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charset="-128"/>
              </a:defRPr>
            </a:lvl1pPr>
            <a:lvl2pPr marL="742950" indent="-285750" defTabSz="912495"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charset="-128"/>
              </a:defRPr>
            </a:lvl2pPr>
            <a:lvl3pPr marL="1143000" indent="-228600" defTabSz="912495"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charset="-128"/>
              </a:defRPr>
            </a:lvl3pPr>
            <a:lvl4pPr marL="1600200" indent="-228600" defTabSz="912495"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charset="-128"/>
              </a:defRPr>
            </a:lvl4pPr>
            <a:lvl5pPr marL="2057400" indent="-228600" defTabSz="912495"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charset="-128"/>
              </a:defRPr>
            </a:lvl5pPr>
            <a:lvl6pPr marL="2514600" indent="-228600" defTabSz="912495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charset="-128"/>
              </a:defRPr>
            </a:lvl6pPr>
            <a:lvl7pPr marL="2971800" indent="-228600" defTabSz="912495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charset="-128"/>
              </a:defRPr>
            </a:lvl7pPr>
            <a:lvl8pPr marL="3429000" indent="-228600" defTabSz="912495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charset="-128"/>
              </a:defRPr>
            </a:lvl8pPr>
            <a:lvl9pPr marL="3886200" indent="-228600" defTabSz="912495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charset="-128"/>
              </a:defRPr>
            </a:lvl9pPr>
          </a:lstStyle>
          <a:p>
            <a:pPr eaLnBrk="1" hangingPunct="1">
              <a:defRPr/>
            </a:pPr>
            <a:r>
              <a:rPr lang="en-US" altLang="th-TH" sz="1900">
                <a:solidFill>
                  <a:srgbClr val="808080"/>
                </a:solidFill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283633" y="531285"/>
            <a:ext cx="11726334" cy="3280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4493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sz="2100" dirty="0">
                <a:solidFill>
                  <a:srgbClr val="808080"/>
                </a:solidFill>
                <a:latin typeface="Arial" panose="020B0604020202020204"/>
                <a:cs typeface="+mn-cs"/>
              </a:rPr>
              <a:t>Unit of measure</a:t>
            </a:r>
          </a:p>
        </p:txBody>
      </p:sp>
      <p:grpSp>
        <p:nvGrpSpPr>
          <p:cNvPr id="1031" name="ACET" hidden="1"/>
          <p:cNvGrpSpPr/>
          <p:nvPr/>
        </p:nvGrpSpPr>
        <p:grpSpPr bwMode="auto">
          <a:xfrm>
            <a:off x="3168652" y="1619251"/>
            <a:ext cx="5854700" cy="681567"/>
            <a:chOff x="915" y="609"/>
            <a:chExt cx="2686" cy="421"/>
          </a:xfrm>
        </p:grpSpPr>
        <p:cxnSp>
          <p:nvCxnSpPr>
            <p:cNvPr id="1079" name="AutoShape 249"/>
            <p:cNvCxnSpPr>
              <a:cxnSpLocks noChangeShapeType="1"/>
              <a:stCxn id="1080" idx="4"/>
              <a:endCxn id="1080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80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1pPr>
              <a:lvl2pPr marL="742950" indent="-28575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2pPr>
              <a:lvl3pPr marL="11430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3pPr>
              <a:lvl4pPr marL="16002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4pPr>
              <a:lvl5pPr marL="20574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5pPr>
              <a:lvl6pPr marL="25146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6pPr>
              <a:lvl7pPr marL="29718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7pPr>
              <a:lvl8pPr marL="34290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8pPr>
              <a:lvl9pPr marL="38862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th-TH" sz="2100" b="1">
                  <a:solidFill>
                    <a:srgbClr val="003366"/>
                  </a:solidFill>
                  <a:cs typeface="+mn-cs"/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th-TH" sz="210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grpSp>
        <p:nvGrpSpPr>
          <p:cNvPr id="1032" name="LegendBoxes" hidden="1"/>
          <p:cNvGrpSpPr/>
          <p:nvPr/>
        </p:nvGrpSpPr>
        <p:grpSpPr bwMode="auto">
          <a:xfrm>
            <a:off x="10970684" y="296334"/>
            <a:ext cx="1024467" cy="1075267"/>
            <a:chOff x="4936" y="176"/>
            <a:chExt cx="474" cy="664"/>
          </a:xfrm>
        </p:grpSpPr>
        <p:sp>
          <p:nvSpPr>
            <p:cNvPr id="1071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4" cy="1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1pPr>
              <a:lvl2pPr marL="742950" indent="-28575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2pPr>
              <a:lvl3pPr marL="11430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3pPr>
              <a:lvl4pPr marL="16002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4pPr>
              <a:lvl5pPr marL="20574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5pPr>
              <a:lvl6pPr marL="25146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6pPr>
              <a:lvl7pPr marL="29718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7pPr>
              <a:lvl8pPr marL="34290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8pPr>
              <a:lvl9pPr marL="38862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9pPr>
            </a:lstStyle>
            <a:p>
              <a:pPr eaLnBrk="1" hangingPunct="1">
                <a:buClr>
                  <a:srgbClr val="2E6272"/>
                </a:buClr>
                <a:defRPr/>
              </a:pPr>
              <a:r>
                <a:rPr lang="en-US" altLang="th-TH" sz="1600">
                  <a:solidFill>
                    <a:srgbClr val="003366"/>
                  </a:solidFill>
                  <a:cs typeface="+mn-cs"/>
                </a:rPr>
                <a:t>Legend</a:t>
              </a:r>
            </a:p>
          </p:txBody>
        </p:sp>
        <p:sp>
          <p:nvSpPr>
            <p:cNvPr id="1072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2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1pPr>
              <a:lvl2pPr marL="742950" indent="-28575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2pPr>
              <a:lvl3pPr marL="11430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3pPr>
              <a:lvl4pPr marL="16002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4pPr>
              <a:lvl5pPr marL="20574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5pPr>
              <a:lvl6pPr marL="25146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6pPr>
              <a:lvl7pPr marL="29718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7pPr>
              <a:lvl8pPr marL="34290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8pPr>
              <a:lvl9pPr marL="38862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9pPr>
            </a:lstStyle>
            <a:p>
              <a:pPr eaLnBrk="1" hangingPunct="1">
                <a:defRPr/>
              </a:pPr>
              <a:endParaRPr lang="th-TH" altLang="th-TH" sz="1600">
                <a:solidFill>
                  <a:srgbClr val="003366"/>
                </a:solidFill>
                <a:cs typeface="+mn-cs"/>
              </a:endParaRPr>
            </a:p>
          </p:txBody>
        </p:sp>
        <p:sp>
          <p:nvSpPr>
            <p:cNvPr id="1073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4" cy="1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1pPr>
              <a:lvl2pPr marL="742950" indent="-28575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2pPr>
              <a:lvl3pPr marL="11430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3pPr>
              <a:lvl4pPr marL="16002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4pPr>
              <a:lvl5pPr marL="20574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5pPr>
              <a:lvl6pPr marL="25146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6pPr>
              <a:lvl7pPr marL="29718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7pPr>
              <a:lvl8pPr marL="34290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8pPr>
              <a:lvl9pPr marL="38862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9pPr>
            </a:lstStyle>
            <a:p>
              <a:pPr eaLnBrk="1" hangingPunct="1">
                <a:buClr>
                  <a:srgbClr val="2E6272"/>
                </a:buClr>
                <a:defRPr/>
              </a:pPr>
              <a:r>
                <a:rPr lang="en-US" altLang="th-TH" sz="1600">
                  <a:solidFill>
                    <a:srgbClr val="003366"/>
                  </a:solidFill>
                  <a:cs typeface="+mn-cs"/>
                </a:rPr>
                <a:t>Legend</a:t>
              </a:r>
            </a:p>
          </p:txBody>
        </p:sp>
        <p:sp>
          <p:nvSpPr>
            <p:cNvPr id="1074" name="LegendRectangle2"/>
            <p:cNvSpPr>
              <a:spLocks noChangeArrowheads="1"/>
            </p:cNvSpPr>
            <p:nvPr/>
          </p:nvSpPr>
          <p:spPr bwMode="auto">
            <a:xfrm>
              <a:off x="4936" y="352"/>
              <a:ext cx="104" cy="102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1pPr>
              <a:lvl2pPr marL="742950" indent="-28575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2pPr>
              <a:lvl3pPr marL="11430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3pPr>
              <a:lvl4pPr marL="16002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4pPr>
              <a:lvl5pPr marL="20574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5pPr>
              <a:lvl6pPr marL="25146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6pPr>
              <a:lvl7pPr marL="29718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7pPr>
              <a:lvl8pPr marL="34290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8pPr>
              <a:lvl9pPr marL="38862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9pPr>
            </a:lstStyle>
            <a:p>
              <a:pPr eaLnBrk="1" hangingPunct="1">
                <a:defRPr/>
              </a:pPr>
              <a:endParaRPr lang="th-TH" altLang="th-TH" sz="1600">
                <a:solidFill>
                  <a:srgbClr val="003366"/>
                </a:solidFill>
                <a:cs typeface="+mn-cs"/>
              </a:endParaRPr>
            </a:p>
          </p:txBody>
        </p:sp>
        <p:sp>
          <p:nvSpPr>
            <p:cNvPr id="1075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4" cy="1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1pPr>
              <a:lvl2pPr marL="742950" indent="-28575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2pPr>
              <a:lvl3pPr marL="11430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3pPr>
              <a:lvl4pPr marL="16002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4pPr>
              <a:lvl5pPr marL="20574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5pPr>
              <a:lvl6pPr marL="25146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6pPr>
              <a:lvl7pPr marL="29718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7pPr>
              <a:lvl8pPr marL="34290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8pPr>
              <a:lvl9pPr marL="38862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9pPr>
            </a:lstStyle>
            <a:p>
              <a:pPr eaLnBrk="1" hangingPunct="1">
                <a:buClr>
                  <a:srgbClr val="2E6272"/>
                </a:buClr>
                <a:defRPr/>
              </a:pPr>
              <a:r>
                <a:rPr lang="en-US" altLang="th-TH" sz="1600">
                  <a:solidFill>
                    <a:srgbClr val="003366"/>
                  </a:solidFill>
                  <a:cs typeface="+mn-cs"/>
                </a:rPr>
                <a:t>Legend</a:t>
              </a:r>
            </a:p>
          </p:txBody>
        </p:sp>
        <p:sp>
          <p:nvSpPr>
            <p:cNvPr id="1076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2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1pPr>
              <a:lvl2pPr marL="742950" indent="-28575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2pPr>
              <a:lvl3pPr marL="11430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3pPr>
              <a:lvl4pPr marL="16002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4pPr>
              <a:lvl5pPr marL="20574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5pPr>
              <a:lvl6pPr marL="25146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6pPr>
              <a:lvl7pPr marL="29718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7pPr>
              <a:lvl8pPr marL="34290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8pPr>
              <a:lvl9pPr marL="38862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9pPr>
            </a:lstStyle>
            <a:p>
              <a:pPr eaLnBrk="1" hangingPunct="1">
                <a:defRPr/>
              </a:pPr>
              <a:endParaRPr lang="th-TH" altLang="th-TH" sz="1600">
                <a:solidFill>
                  <a:srgbClr val="003366"/>
                </a:solidFill>
                <a:cs typeface="+mn-cs"/>
              </a:endParaRPr>
            </a:p>
          </p:txBody>
        </p:sp>
        <p:sp>
          <p:nvSpPr>
            <p:cNvPr id="1077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4" cy="1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1pPr>
              <a:lvl2pPr marL="742950" indent="-28575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2pPr>
              <a:lvl3pPr marL="11430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3pPr>
              <a:lvl4pPr marL="16002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4pPr>
              <a:lvl5pPr marL="20574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5pPr>
              <a:lvl6pPr marL="25146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6pPr>
              <a:lvl7pPr marL="29718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7pPr>
              <a:lvl8pPr marL="34290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8pPr>
              <a:lvl9pPr marL="38862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9pPr>
            </a:lstStyle>
            <a:p>
              <a:pPr eaLnBrk="1" hangingPunct="1">
                <a:buClr>
                  <a:srgbClr val="2E6272"/>
                </a:buClr>
                <a:defRPr/>
              </a:pPr>
              <a:r>
                <a:rPr lang="en-US" altLang="th-TH" sz="1600">
                  <a:solidFill>
                    <a:srgbClr val="003366"/>
                  </a:solidFill>
                  <a:cs typeface="+mn-cs"/>
                </a:rPr>
                <a:t>Legend</a:t>
              </a:r>
            </a:p>
          </p:txBody>
        </p:sp>
        <p:sp>
          <p:nvSpPr>
            <p:cNvPr id="1078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1pPr>
              <a:lvl2pPr marL="742950" indent="-28575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2pPr>
              <a:lvl3pPr marL="11430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3pPr>
              <a:lvl4pPr marL="16002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4pPr>
              <a:lvl5pPr marL="20574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5pPr>
              <a:lvl6pPr marL="25146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6pPr>
              <a:lvl7pPr marL="29718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7pPr>
              <a:lvl8pPr marL="34290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8pPr>
              <a:lvl9pPr marL="38862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9pPr>
            </a:lstStyle>
            <a:p>
              <a:pPr eaLnBrk="1" hangingPunct="1">
                <a:defRPr/>
              </a:pPr>
              <a:endParaRPr lang="th-TH" altLang="th-TH" sz="1600">
                <a:solidFill>
                  <a:srgbClr val="003366"/>
                </a:solidFill>
                <a:cs typeface="+mn-cs"/>
              </a:endParaRPr>
            </a:p>
          </p:txBody>
        </p:sp>
      </p:grpSp>
      <p:grpSp>
        <p:nvGrpSpPr>
          <p:cNvPr id="1033" name="LegendLines" hidden="1"/>
          <p:cNvGrpSpPr/>
          <p:nvPr/>
        </p:nvGrpSpPr>
        <p:grpSpPr bwMode="auto">
          <a:xfrm>
            <a:off x="10551584" y="296334"/>
            <a:ext cx="1445682" cy="806451"/>
            <a:chOff x="4750" y="176"/>
            <a:chExt cx="669" cy="497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1218565" eaLnBrk="1" hangingPunct="1">
                <a:defRPr/>
              </a:pPr>
              <a:endParaRPr lang="en-US" sz="1600">
                <a:solidFill>
                  <a:srgbClr val="003366"/>
                </a:solidFill>
                <a:latin typeface="Arial" panose="020B0604020202020204"/>
                <a:cs typeface="+mn-cs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1218565" eaLnBrk="1" hangingPunct="1">
                <a:defRPr/>
              </a:pPr>
              <a:endParaRPr lang="en-US" sz="1600">
                <a:solidFill>
                  <a:srgbClr val="003366"/>
                </a:solidFill>
                <a:latin typeface="Arial" panose="020B0604020202020204"/>
                <a:cs typeface="+mn-cs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6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1218565" eaLnBrk="1" hangingPunct="1">
                <a:defRPr/>
              </a:pPr>
              <a:endParaRPr lang="en-US" sz="1600">
                <a:solidFill>
                  <a:srgbClr val="003366"/>
                </a:solidFill>
                <a:latin typeface="Arial" panose="020B0604020202020204"/>
                <a:cs typeface="+mn-cs"/>
              </a:endParaRPr>
            </a:p>
          </p:txBody>
        </p:sp>
        <p:sp>
          <p:nvSpPr>
            <p:cNvPr id="106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1pPr>
              <a:lvl2pPr marL="742950" indent="-28575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2pPr>
              <a:lvl3pPr marL="11430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3pPr>
              <a:lvl4pPr marL="16002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4pPr>
              <a:lvl5pPr marL="20574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5pPr>
              <a:lvl6pPr marL="25146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6pPr>
              <a:lvl7pPr marL="29718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7pPr>
              <a:lvl8pPr marL="34290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8pPr>
              <a:lvl9pPr marL="38862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9pPr>
            </a:lstStyle>
            <a:p>
              <a:pPr eaLnBrk="1" hangingPunct="1">
                <a:buClr>
                  <a:srgbClr val="2E6272"/>
                </a:buClr>
                <a:defRPr/>
              </a:pPr>
              <a:r>
                <a:rPr lang="en-US" altLang="th-TH" sz="1600">
                  <a:solidFill>
                    <a:srgbClr val="003366"/>
                  </a:solidFill>
                  <a:cs typeface="+mn-cs"/>
                </a:rPr>
                <a:t>Legend</a:t>
              </a:r>
            </a:p>
          </p:txBody>
        </p:sp>
        <p:sp>
          <p:nvSpPr>
            <p:cNvPr id="106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1pPr>
              <a:lvl2pPr marL="742950" indent="-28575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2pPr>
              <a:lvl3pPr marL="11430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3pPr>
              <a:lvl4pPr marL="16002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4pPr>
              <a:lvl5pPr marL="20574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5pPr>
              <a:lvl6pPr marL="25146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6pPr>
              <a:lvl7pPr marL="29718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7pPr>
              <a:lvl8pPr marL="34290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8pPr>
              <a:lvl9pPr marL="38862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9pPr>
            </a:lstStyle>
            <a:p>
              <a:pPr eaLnBrk="1" hangingPunct="1">
                <a:buClr>
                  <a:srgbClr val="2E6272"/>
                </a:buClr>
                <a:defRPr/>
              </a:pPr>
              <a:r>
                <a:rPr lang="en-US" altLang="th-TH" sz="1600">
                  <a:solidFill>
                    <a:srgbClr val="003366"/>
                  </a:solidFill>
                  <a:cs typeface="+mn-cs"/>
                </a:rPr>
                <a:t>Legend</a:t>
              </a:r>
            </a:p>
          </p:txBody>
        </p:sp>
        <p:sp>
          <p:nvSpPr>
            <p:cNvPr id="107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1pPr>
              <a:lvl2pPr marL="742950" indent="-28575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2pPr>
              <a:lvl3pPr marL="11430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3pPr>
              <a:lvl4pPr marL="16002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4pPr>
              <a:lvl5pPr marL="20574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5pPr>
              <a:lvl6pPr marL="25146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6pPr>
              <a:lvl7pPr marL="29718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7pPr>
              <a:lvl8pPr marL="34290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8pPr>
              <a:lvl9pPr marL="38862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9pPr>
            </a:lstStyle>
            <a:p>
              <a:pPr eaLnBrk="1" hangingPunct="1">
                <a:buClr>
                  <a:srgbClr val="2E6272"/>
                </a:buClr>
                <a:defRPr/>
              </a:pPr>
              <a:r>
                <a:rPr lang="en-US" altLang="th-TH" sz="1600">
                  <a:solidFill>
                    <a:srgbClr val="003366"/>
                  </a:solidFill>
                  <a:cs typeface="+mn-cs"/>
                </a:rPr>
                <a:t>Legend</a:t>
              </a:r>
            </a:p>
          </p:txBody>
        </p:sp>
      </p:grpSp>
      <p:grpSp>
        <p:nvGrpSpPr>
          <p:cNvPr id="1034" name="McKSticker" hidden="1"/>
          <p:cNvGrpSpPr/>
          <p:nvPr/>
        </p:nvGrpSpPr>
        <p:grpSpPr bwMode="auto">
          <a:xfrm>
            <a:off x="10587566" y="296335"/>
            <a:ext cx="1422400" cy="283633"/>
            <a:chOff x="7695090" y="285750"/>
            <a:chExt cx="1045685" cy="277018"/>
          </a:xfrm>
        </p:grpSpPr>
        <p:sp>
          <p:nvSpPr>
            <p:cNvPr id="1062" name="StickerRectangle"/>
            <p:cNvSpPr>
              <a:spLocks noChangeArrowheads="1"/>
            </p:cNvSpPr>
            <p:nvPr/>
          </p:nvSpPr>
          <p:spPr bwMode="auto">
            <a:xfrm>
              <a:off x="7695090" y="285750"/>
              <a:ext cx="1045685" cy="27701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1pPr>
              <a:lvl2pPr marL="742950" indent="-28575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2pPr>
              <a:lvl3pPr marL="11430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3pPr>
              <a:lvl4pPr marL="16002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4pPr>
              <a:lvl5pPr marL="20574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5pPr>
              <a:lvl6pPr marL="25146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6pPr>
              <a:lvl7pPr marL="29718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7pPr>
              <a:lvl8pPr marL="34290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8pPr>
              <a:lvl9pPr marL="38862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9pPr>
            </a:lstStyle>
            <a:p>
              <a:pPr algn="r" eaLnBrk="1" hangingPunct="1">
                <a:buClr>
                  <a:srgbClr val="2E6272"/>
                </a:buClr>
                <a:defRPr/>
              </a:pPr>
              <a:r>
                <a:rPr lang="en-US" altLang="th-TH" sz="1600">
                  <a:solidFill>
                    <a:srgbClr val="808080"/>
                  </a:solidFill>
                  <a:cs typeface="+mn-cs"/>
                </a:rPr>
                <a:t>PRELIMINARY</a:t>
              </a:r>
            </a:p>
          </p:txBody>
        </p:sp>
        <p:cxnSp>
          <p:nvCxnSpPr>
            <p:cNvPr id="1063" name="AutoShape 31"/>
            <p:cNvCxnSpPr>
              <a:cxnSpLocks noChangeShapeType="1"/>
              <a:stCxn id="1062" idx="2"/>
              <a:endCxn id="1062" idx="4"/>
            </p:cNvCxnSpPr>
            <p:nvPr/>
          </p:nvCxnSpPr>
          <p:spPr bwMode="auto">
            <a:xfrm>
              <a:off x="7695090" y="285750"/>
              <a:ext cx="0" cy="27701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1064" name="AutoShape 32"/>
            <p:cNvCxnSpPr>
              <a:cxnSpLocks noChangeShapeType="1"/>
              <a:stCxn id="1062" idx="4"/>
              <a:endCxn id="1062" idx="6"/>
            </p:cNvCxnSpPr>
            <p:nvPr/>
          </p:nvCxnSpPr>
          <p:spPr bwMode="auto">
            <a:xfrm>
              <a:off x="7695090" y="562768"/>
              <a:ext cx="104568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grpSp>
        <p:nvGrpSpPr>
          <p:cNvPr id="1035" name="McK Slide Elements" hidden="1"/>
          <p:cNvGrpSpPr/>
          <p:nvPr/>
        </p:nvGrpSpPr>
        <p:grpSpPr bwMode="auto">
          <a:xfrm>
            <a:off x="283633" y="6369052"/>
            <a:ext cx="8968317" cy="414867"/>
            <a:chOff x="208756" y="6182967"/>
            <a:chExt cx="6592095" cy="405902"/>
          </a:xfrm>
        </p:grpSpPr>
        <p:sp>
          <p:nvSpPr>
            <p:cNvPr id="61" name="McK 4. Footnote"/>
            <p:cNvSpPr txBox="1"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208756" y="6182967"/>
              <a:ext cx="6592095" cy="2008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217930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40525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79260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498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070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1642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214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300" dirty="0">
                  <a:solidFill>
                    <a:srgbClr val="003366"/>
                  </a:solidFill>
                  <a:latin typeface="Arial" panose="020B0604020202020204"/>
                  <a:cs typeface="+mn-cs"/>
                </a:rPr>
                <a:t>1 Footnote</a:t>
              </a:r>
            </a:p>
          </p:txBody>
        </p:sp>
        <p:sp>
          <p:nvSpPr>
            <p:cNvPr id="1061" name="McK 5. Source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208756" y="6387988"/>
              <a:ext cx="6592095" cy="2008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478155" indent="-478155" defTabSz="912495">
                <a:tabLst>
                  <a:tab pos="487045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1pPr>
              <a:lvl2pPr marL="742950" indent="-285750" defTabSz="912495">
                <a:tabLst>
                  <a:tab pos="487045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2pPr>
              <a:lvl3pPr marL="1143000" indent="-228600" defTabSz="912495">
                <a:tabLst>
                  <a:tab pos="487045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3pPr>
              <a:lvl4pPr marL="1600200" indent="-228600" defTabSz="912495">
                <a:tabLst>
                  <a:tab pos="487045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4pPr>
              <a:lvl5pPr marL="2057400" indent="-228600" defTabSz="912495">
                <a:tabLst>
                  <a:tab pos="487045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5pPr>
              <a:lvl6pPr marL="25146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87045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6pPr>
              <a:lvl7pPr marL="29718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87045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7pPr>
              <a:lvl8pPr marL="34290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87045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8pPr>
              <a:lvl9pPr marL="38862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87045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th-TH" sz="1300">
                  <a:solidFill>
                    <a:srgbClr val="003366"/>
                  </a:solidFill>
                  <a:cs typeface="+mn-cs"/>
                </a:rPr>
                <a:t>Source: Source</a:t>
              </a:r>
            </a:p>
          </p:txBody>
        </p:sp>
      </p:grpSp>
      <p:grpSp>
        <p:nvGrpSpPr>
          <p:cNvPr id="1036" name="McK Moon" hidden="1"/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10879668" y="1957919"/>
            <a:ext cx="345017" cy="260349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218565" eaLnBrk="1" hangingPunct="1">
                <a:defRPr/>
              </a:pPr>
              <a:endParaRPr lang="en-US" sz="2100">
                <a:solidFill>
                  <a:srgbClr val="003366"/>
                </a:solidFill>
                <a:latin typeface="Arial" panose="020B0604020202020204"/>
                <a:cs typeface="+mn-cs"/>
              </a:endParaRPr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21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218565" eaLnBrk="1" hangingPunct="1">
                <a:defRPr/>
              </a:pPr>
              <a:endParaRPr lang="en-US" sz="2100">
                <a:solidFill>
                  <a:srgbClr val="003366"/>
                </a:solidFill>
                <a:latin typeface="Arial" panose="020B0604020202020204"/>
                <a:cs typeface="+mn-cs"/>
              </a:endParaRPr>
            </a:p>
          </p:txBody>
        </p:sp>
      </p:grpSp>
      <p:grpSp>
        <p:nvGrpSpPr>
          <p:cNvPr id="1037" name="LegendMoons" hidden="1"/>
          <p:cNvGrpSpPr/>
          <p:nvPr/>
        </p:nvGrpSpPr>
        <p:grpSpPr bwMode="auto">
          <a:xfrm>
            <a:off x="10879667" y="296335"/>
            <a:ext cx="1115484" cy="1377951"/>
            <a:chOff x="5428012" y="273840"/>
            <a:chExt cx="820417" cy="1351660"/>
          </a:xfrm>
        </p:grpSpPr>
        <p:sp>
          <p:nvSpPr>
            <p:cNvPr id="1038" name="Legend1"/>
            <p:cNvSpPr>
              <a:spLocks noChangeArrowheads="1"/>
            </p:cNvSpPr>
            <p:nvPr/>
          </p:nvSpPr>
          <p:spPr bwMode="auto">
            <a:xfrm>
              <a:off x="5748706" y="286298"/>
              <a:ext cx="499723" cy="2408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1pPr>
              <a:lvl2pPr marL="742950" indent="-28575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2pPr>
              <a:lvl3pPr marL="11430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3pPr>
              <a:lvl4pPr marL="16002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4pPr>
              <a:lvl5pPr marL="20574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5pPr>
              <a:lvl6pPr marL="25146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6pPr>
              <a:lvl7pPr marL="29718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7pPr>
              <a:lvl8pPr marL="34290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8pPr>
              <a:lvl9pPr marL="38862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9pPr>
            </a:lstStyle>
            <a:p>
              <a:pPr eaLnBrk="1" hangingPunct="1">
                <a:buClr>
                  <a:srgbClr val="2E6272"/>
                </a:buClr>
                <a:defRPr/>
              </a:pPr>
              <a:r>
                <a:rPr lang="en-US" altLang="th-TH" sz="1600">
                  <a:solidFill>
                    <a:srgbClr val="003366"/>
                  </a:solidFill>
                  <a:cs typeface="+mn-cs"/>
                </a:rPr>
                <a:t>Legend</a:t>
              </a:r>
            </a:p>
          </p:txBody>
        </p:sp>
        <p:sp>
          <p:nvSpPr>
            <p:cNvPr id="1039" name="Legend2"/>
            <p:cNvSpPr>
              <a:spLocks noChangeArrowheads="1"/>
            </p:cNvSpPr>
            <p:nvPr/>
          </p:nvSpPr>
          <p:spPr bwMode="auto">
            <a:xfrm>
              <a:off x="5748706" y="560367"/>
              <a:ext cx="499723" cy="2408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1pPr>
              <a:lvl2pPr marL="742950" indent="-28575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2pPr>
              <a:lvl3pPr marL="11430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3pPr>
              <a:lvl4pPr marL="16002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4pPr>
              <a:lvl5pPr marL="20574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5pPr>
              <a:lvl6pPr marL="25146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6pPr>
              <a:lvl7pPr marL="29718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7pPr>
              <a:lvl8pPr marL="34290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8pPr>
              <a:lvl9pPr marL="38862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9pPr>
            </a:lstStyle>
            <a:p>
              <a:pPr eaLnBrk="1" hangingPunct="1">
                <a:buClr>
                  <a:srgbClr val="2E6272"/>
                </a:buClr>
                <a:defRPr/>
              </a:pPr>
              <a:r>
                <a:rPr lang="en-US" altLang="th-TH" sz="1600">
                  <a:solidFill>
                    <a:srgbClr val="003366"/>
                  </a:solidFill>
                  <a:cs typeface="+mn-cs"/>
                </a:rPr>
                <a:t>Legend</a:t>
              </a:r>
            </a:p>
          </p:txBody>
        </p:sp>
        <p:sp>
          <p:nvSpPr>
            <p:cNvPr id="1040" name="Legend3"/>
            <p:cNvSpPr>
              <a:spLocks noChangeArrowheads="1"/>
            </p:cNvSpPr>
            <p:nvPr/>
          </p:nvSpPr>
          <p:spPr bwMode="auto">
            <a:xfrm>
              <a:off x="5748706" y="836513"/>
              <a:ext cx="499723" cy="2408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1pPr>
              <a:lvl2pPr marL="742950" indent="-28575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2pPr>
              <a:lvl3pPr marL="11430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3pPr>
              <a:lvl4pPr marL="16002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4pPr>
              <a:lvl5pPr marL="20574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5pPr>
              <a:lvl6pPr marL="25146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6pPr>
              <a:lvl7pPr marL="29718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7pPr>
              <a:lvl8pPr marL="34290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8pPr>
              <a:lvl9pPr marL="38862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9pPr>
            </a:lstStyle>
            <a:p>
              <a:pPr eaLnBrk="1" hangingPunct="1">
                <a:buClr>
                  <a:srgbClr val="2E6272"/>
                </a:buClr>
                <a:defRPr/>
              </a:pPr>
              <a:r>
                <a:rPr lang="en-US" altLang="th-TH" sz="1600">
                  <a:solidFill>
                    <a:srgbClr val="003366"/>
                  </a:solidFill>
                  <a:cs typeface="+mn-cs"/>
                </a:rPr>
                <a:t>Legend</a:t>
              </a:r>
            </a:p>
          </p:txBody>
        </p:sp>
        <p:sp>
          <p:nvSpPr>
            <p:cNvPr id="1041" name="Legend4"/>
            <p:cNvSpPr>
              <a:spLocks noChangeArrowheads="1"/>
            </p:cNvSpPr>
            <p:nvPr/>
          </p:nvSpPr>
          <p:spPr bwMode="auto">
            <a:xfrm>
              <a:off x="5748706" y="1108505"/>
              <a:ext cx="499723" cy="2408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1pPr>
              <a:lvl2pPr marL="742950" indent="-28575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2pPr>
              <a:lvl3pPr marL="11430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3pPr>
              <a:lvl4pPr marL="16002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4pPr>
              <a:lvl5pPr marL="20574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5pPr>
              <a:lvl6pPr marL="25146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6pPr>
              <a:lvl7pPr marL="29718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7pPr>
              <a:lvl8pPr marL="34290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8pPr>
              <a:lvl9pPr marL="38862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9pPr>
            </a:lstStyle>
            <a:p>
              <a:pPr eaLnBrk="1" hangingPunct="1">
                <a:buClr>
                  <a:srgbClr val="2E6272"/>
                </a:buClr>
                <a:defRPr/>
              </a:pPr>
              <a:r>
                <a:rPr lang="en-US" altLang="th-TH" sz="1600">
                  <a:solidFill>
                    <a:srgbClr val="003366"/>
                  </a:solidFill>
                  <a:cs typeface="+mn-cs"/>
                </a:rPr>
                <a:t>Legend</a:t>
              </a:r>
            </a:p>
          </p:txBody>
        </p:sp>
        <p:sp>
          <p:nvSpPr>
            <p:cNvPr id="1042" name="Legend5"/>
            <p:cNvSpPr>
              <a:spLocks noChangeArrowheads="1"/>
            </p:cNvSpPr>
            <p:nvPr/>
          </p:nvSpPr>
          <p:spPr bwMode="auto">
            <a:xfrm>
              <a:off x="5748706" y="1384651"/>
              <a:ext cx="499723" cy="2408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1pPr>
              <a:lvl2pPr marL="742950" indent="-28575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2pPr>
              <a:lvl3pPr marL="11430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3pPr>
              <a:lvl4pPr marL="16002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4pPr>
              <a:lvl5pPr marL="2057400" indent="-228600" defTabSz="912495"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5pPr>
              <a:lvl6pPr marL="25146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6pPr>
              <a:lvl7pPr marL="29718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7pPr>
              <a:lvl8pPr marL="34290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8pPr>
              <a:lvl9pPr marL="3886200" indent="-228600" defTabSz="912495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charset="-128"/>
                </a:defRPr>
              </a:lvl9pPr>
            </a:lstStyle>
            <a:p>
              <a:pPr eaLnBrk="1" hangingPunct="1">
                <a:buClr>
                  <a:srgbClr val="2E6272"/>
                </a:buClr>
                <a:defRPr/>
              </a:pPr>
              <a:r>
                <a:rPr lang="en-US" altLang="th-TH" sz="1600">
                  <a:solidFill>
                    <a:srgbClr val="003366"/>
                  </a:solidFill>
                  <a:cs typeface="+mn-cs"/>
                </a:rPr>
                <a:t>Legend</a:t>
              </a:r>
            </a:p>
          </p:txBody>
        </p:sp>
        <p:grpSp>
          <p:nvGrpSpPr>
            <p:cNvPr id="1043" name="MoonLegend1"/>
            <p:cNvGrpSpPr>
              <a:grpSpLocks noChangeAspect="1"/>
            </p:cNvGrpSpPr>
            <p:nvPr userDrawn="1">
              <p:custDataLst>
                <p:tags r:id="rId5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218565" eaLnBrk="1" hangingPunct="1">
                  <a:defRPr/>
                </a:pPr>
                <a:endParaRPr lang="en-US" sz="2100">
                  <a:solidFill>
                    <a:srgbClr val="003366"/>
                  </a:solidFill>
                  <a:latin typeface="Arial" panose="020B0604020202020204"/>
                  <a:cs typeface="+mn-cs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218565" eaLnBrk="1" hangingPunct="1">
                  <a:defRPr/>
                </a:pPr>
                <a:endParaRPr lang="en-US" sz="2100">
                  <a:solidFill>
                    <a:srgbClr val="003366"/>
                  </a:solidFill>
                  <a:latin typeface="Arial" panose="020B0604020202020204"/>
                  <a:cs typeface="+mn-cs"/>
                </a:endParaRPr>
              </a:p>
            </p:txBody>
          </p:sp>
        </p:grpSp>
        <p:grpSp>
          <p:nvGrpSpPr>
            <p:cNvPr id="1044" name="MoonLegend2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218565" eaLnBrk="1" hangingPunct="1">
                  <a:defRPr/>
                </a:pPr>
                <a:endParaRPr lang="en-US" sz="2100">
                  <a:solidFill>
                    <a:srgbClr val="003366"/>
                  </a:solidFill>
                  <a:latin typeface="Arial" panose="020B0604020202020204"/>
                  <a:cs typeface="+mn-cs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218565" eaLnBrk="1" hangingPunct="1">
                  <a:defRPr/>
                </a:pPr>
                <a:endParaRPr lang="en-US" sz="2100">
                  <a:solidFill>
                    <a:srgbClr val="003366"/>
                  </a:solidFill>
                  <a:latin typeface="Arial" panose="020B0604020202020204"/>
                  <a:cs typeface="+mn-cs"/>
                </a:endParaRPr>
              </a:p>
            </p:txBody>
          </p:sp>
        </p:grpSp>
        <p:grpSp>
          <p:nvGrpSpPr>
            <p:cNvPr id="1045" name="MoonLegend3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218565" eaLnBrk="1" hangingPunct="1">
                  <a:defRPr/>
                </a:pPr>
                <a:endParaRPr lang="en-US" sz="2100">
                  <a:solidFill>
                    <a:srgbClr val="003366"/>
                  </a:solidFill>
                  <a:latin typeface="Arial" panose="020B0604020202020204"/>
                  <a:cs typeface="+mn-cs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218565" eaLnBrk="1" hangingPunct="1">
                  <a:defRPr/>
                </a:pPr>
                <a:endParaRPr lang="en-US" sz="2100">
                  <a:solidFill>
                    <a:srgbClr val="003366"/>
                  </a:solidFill>
                  <a:latin typeface="Arial" panose="020B0604020202020204"/>
                  <a:cs typeface="+mn-cs"/>
                </a:endParaRPr>
              </a:p>
            </p:txBody>
          </p:sp>
        </p:grpSp>
        <p:grpSp>
          <p:nvGrpSpPr>
            <p:cNvPr id="1046" name="MoonLegend4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2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218565" eaLnBrk="1" hangingPunct="1">
                  <a:defRPr/>
                </a:pPr>
                <a:endParaRPr lang="en-US" sz="2100">
                  <a:solidFill>
                    <a:srgbClr val="003366"/>
                  </a:solidFill>
                  <a:latin typeface="Arial" panose="020B0604020202020204"/>
                  <a:cs typeface="+mn-cs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2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218565" eaLnBrk="1" hangingPunct="1">
                  <a:defRPr/>
                </a:pPr>
                <a:endParaRPr lang="en-US" sz="2100">
                  <a:solidFill>
                    <a:srgbClr val="003366"/>
                  </a:solidFill>
                  <a:latin typeface="Arial" panose="020B0604020202020204"/>
                  <a:cs typeface="+mn-cs"/>
                </a:endParaRPr>
              </a:p>
            </p:txBody>
          </p:sp>
        </p:grpSp>
        <p:grpSp>
          <p:nvGrpSpPr>
            <p:cNvPr id="1047" name="MoonLegend5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1694" y="2045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218565" eaLnBrk="1" hangingPunct="1">
                  <a:defRPr/>
                </a:pPr>
                <a:endParaRPr lang="en-US" sz="2100">
                  <a:solidFill>
                    <a:srgbClr val="003366"/>
                  </a:solidFill>
                  <a:latin typeface="Arial" panose="020B0604020202020204"/>
                  <a:cs typeface="+mn-cs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5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218565" eaLnBrk="1" hangingPunct="1">
                  <a:defRPr/>
                </a:pPr>
                <a:endParaRPr lang="en-US" sz="2100">
                  <a:solidFill>
                    <a:srgbClr val="003366"/>
                  </a:solidFill>
                  <a:latin typeface="Arial" panose="020B0604020202020204"/>
                  <a:cs typeface="+mn-cs"/>
                </a:endParaRPr>
              </a:p>
            </p:txBody>
          </p:sp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</p:sldLayoutIdLst>
  <p:hf hdr="0" ftr="0" dt="0"/>
  <p:txStyles>
    <p:titleStyle>
      <a:lvl1pPr algn="l" defTabSz="1216660" rtl="0" eaLnBrk="0" fontAlgn="base" hangingPunct="0">
        <a:spcBef>
          <a:spcPct val="0"/>
        </a:spcBef>
        <a:spcAft>
          <a:spcPct val="0"/>
        </a:spcAft>
        <a:tabLst>
          <a:tab pos="365760" algn="l"/>
        </a:tabLst>
        <a:defRPr sz="2500" b="1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1216660" rtl="0" eaLnBrk="0" fontAlgn="base" hangingPunct="0">
        <a:spcBef>
          <a:spcPct val="0"/>
        </a:spcBef>
        <a:spcAft>
          <a:spcPct val="0"/>
        </a:spcAft>
        <a:tabLst>
          <a:tab pos="365760" algn="l"/>
        </a:tabLst>
        <a:defRPr sz="2500" b="1">
          <a:solidFill>
            <a:schemeClr val="tx2"/>
          </a:solidFill>
          <a:latin typeface="Arial" panose="020B0604020202020204" pitchFamily="34" charset="0"/>
          <a:ea typeface="Arial Unicode MS" pitchFamily="34" charset="-128"/>
          <a:cs typeface="Arial Unicode MS" pitchFamily="34" charset="-128"/>
        </a:defRPr>
      </a:lvl2pPr>
      <a:lvl3pPr algn="l" defTabSz="1216660" rtl="0" eaLnBrk="0" fontAlgn="base" hangingPunct="0">
        <a:spcBef>
          <a:spcPct val="0"/>
        </a:spcBef>
        <a:spcAft>
          <a:spcPct val="0"/>
        </a:spcAft>
        <a:tabLst>
          <a:tab pos="365760" algn="l"/>
        </a:tabLst>
        <a:defRPr sz="2500" b="1">
          <a:solidFill>
            <a:schemeClr val="tx2"/>
          </a:solidFill>
          <a:latin typeface="Arial" panose="020B0604020202020204" pitchFamily="34" charset="0"/>
          <a:ea typeface="Arial Unicode MS" pitchFamily="34" charset="-128"/>
          <a:cs typeface="Arial Unicode MS" pitchFamily="34" charset="-128"/>
        </a:defRPr>
      </a:lvl3pPr>
      <a:lvl4pPr algn="l" defTabSz="1216660" rtl="0" eaLnBrk="0" fontAlgn="base" hangingPunct="0">
        <a:spcBef>
          <a:spcPct val="0"/>
        </a:spcBef>
        <a:spcAft>
          <a:spcPct val="0"/>
        </a:spcAft>
        <a:tabLst>
          <a:tab pos="365760" algn="l"/>
        </a:tabLst>
        <a:defRPr sz="2500" b="1">
          <a:solidFill>
            <a:schemeClr val="tx2"/>
          </a:solidFill>
          <a:latin typeface="Arial" panose="020B0604020202020204" pitchFamily="34" charset="0"/>
          <a:ea typeface="Arial Unicode MS" pitchFamily="34" charset="-128"/>
          <a:cs typeface="Arial Unicode MS" pitchFamily="34" charset="-128"/>
        </a:defRPr>
      </a:lvl4pPr>
      <a:lvl5pPr algn="l" defTabSz="1216660" rtl="0" eaLnBrk="0" fontAlgn="base" hangingPunct="0">
        <a:spcBef>
          <a:spcPct val="0"/>
        </a:spcBef>
        <a:spcAft>
          <a:spcPct val="0"/>
        </a:spcAft>
        <a:tabLst>
          <a:tab pos="365760" algn="l"/>
        </a:tabLst>
        <a:defRPr sz="2500" b="1">
          <a:solidFill>
            <a:schemeClr val="tx2"/>
          </a:solidFill>
          <a:latin typeface="Arial" panose="020B0604020202020204" pitchFamily="34" charset="0"/>
          <a:ea typeface="Arial Unicode MS" pitchFamily="34" charset="-128"/>
          <a:cs typeface="Arial Unicode MS" pitchFamily="34" charset="-128"/>
        </a:defRPr>
      </a:lvl5pPr>
      <a:lvl6pPr marL="621665" algn="l" defTabSz="1216660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anose="020B0604020202020204" pitchFamily="34" charset="0"/>
        </a:defRPr>
      </a:lvl6pPr>
      <a:lvl7pPr marL="1243330" algn="l" defTabSz="1216660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anose="020B0604020202020204" pitchFamily="34" charset="0"/>
        </a:defRPr>
      </a:lvl7pPr>
      <a:lvl8pPr marL="1864360" algn="l" defTabSz="1216660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anose="020B0604020202020204" pitchFamily="34" charset="0"/>
        </a:defRPr>
      </a:lvl8pPr>
      <a:lvl9pPr marL="2486025" algn="l" defTabSz="1216660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457200" indent="-457200" algn="l" defTabSz="121666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21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262255" indent="-260350" algn="l" defTabSz="121666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21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619760" indent="-355600" algn="l" defTabSz="121666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21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833755" indent="-209550" algn="l" defTabSz="121666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21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1017905" indent="-175895" algn="l" defTabSz="121666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21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1019175" indent="-177165" algn="l" defTabSz="12166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2100" baseline="0">
          <a:solidFill>
            <a:schemeClr val="tx1"/>
          </a:solidFill>
          <a:latin typeface="+mn-lt"/>
        </a:defRPr>
      </a:lvl6pPr>
      <a:lvl7pPr marL="1019175" indent="-177165" algn="l" defTabSz="12166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2100" baseline="0">
          <a:solidFill>
            <a:schemeClr val="tx1"/>
          </a:solidFill>
          <a:latin typeface="+mn-lt"/>
        </a:defRPr>
      </a:lvl7pPr>
      <a:lvl8pPr marL="1019175" indent="-177165" algn="l" defTabSz="12166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2100" baseline="0">
          <a:solidFill>
            <a:schemeClr val="tx1"/>
          </a:solidFill>
          <a:latin typeface="+mn-lt"/>
        </a:defRPr>
      </a:lvl8pPr>
      <a:lvl9pPr marL="1019175" indent="-177165" algn="l" defTabSz="12166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21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4269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21665" algn="l" defTabSz="124269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43330" algn="l" defTabSz="124269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64360" algn="l" defTabSz="124269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86025" algn="l" defTabSz="124269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107690" algn="l" defTabSz="124269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729355" algn="l" defTabSz="124269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351020" algn="l" defTabSz="124269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972050" algn="l" defTabSz="124269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" y="0"/>
            <a:ext cx="12189149" cy="6858000"/>
          </a:xfrm>
          <a:prstGeom prst="rect">
            <a:avLst/>
          </a:prstGeom>
        </p:spPr>
      </p:pic>
      <p:sp>
        <p:nvSpPr>
          <p:cNvPr id="6" name="Slide Number Placeholder 5"/>
          <p:cNvSpPr txBox="1"/>
          <p:nvPr userDrawn="1"/>
        </p:nvSpPr>
        <p:spPr>
          <a:xfrm>
            <a:off x="9306928" y="6492878"/>
            <a:ext cx="2844800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algn="r" defTabSz="91376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15F7D7D9-6025-49EA-96FF-80C688369778}" type="slidenum">
              <a:rPr lang="en-US" sz="900" b="0" smtClean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itchFamily="34" charset="0"/>
              </a:rPr>
              <a:pPr algn="r" defTabSz="9137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prstClr val="black">
                  <a:lumMod val="65000"/>
                  <a:lumOff val="35000"/>
                </a:prstClr>
              </a:solidFill>
              <a:latin typeface="Century Gothic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</p:sldLayoutIdLst>
  <p:hf hdr="0" ftr="0" dt="0"/>
  <p:txStyles>
    <p:titleStyle>
      <a:lvl1pPr algn="l" defTabSz="685165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165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99515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2415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315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215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115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015" indent="-171450" algn="l" defTabSz="68516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h-TH"/>
      </a:defPPr>
      <a:lvl1pPr marL="0" algn="l" defTabSz="68516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16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16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16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965" algn="l" defTabSz="68516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865" algn="l" defTabSz="68516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765" algn="l" defTabSz="68516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665" algn="l" defTabSz="68516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565" algn="l" defTabSz="68516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h-TH"/>
              <a:t>คลิกเพื่อแก้ไขสไตล์ชื่อเรื่องต้นแบ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h-TH"/>
              <a:t>แก้ไขสไตล์ของข้อความต้นแบบ</a:t>
            </a:r>
          </a:p>
          <a:p>
            <a:pPr lvl="1"/>
            <a:r>
              <a:rPr lang="th-TH"/>
              <a:t>ระดับที่สอง</a:t>
            </a:r>
          </a:p>
          <a:p>
            <a:pPr lvl="2"/>
            <a:r>
              <a:rPr lang="th-TH"/>
              <a:t>ระดับที่สาม</a:t>
            </a:r>
          </a:p>
          <a:p>
            <a:pPr lvl="3"/>
            <a:r>
              <a:rPr lang="th-TH"/>
              <a:t>ระดับที่สี่</a:t>
            </a:r>
          </a:p>
          <a:p>
            <a:pPr lvl="4"/>
            <a:r>
              <a:rPr lang="th-TH"/>
              <a:t>ระดับที่ห้า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4922771E-1601-43DF-A50E-B08525D4590D}" type="datetime1">
              <a:rPr lang="th-TH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Cordia New" panose="020B0304020202020204" pitchFamily="34" charset="-34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5/03/64</a:t>
            </a:fld>
            <a:endParaRPr lang="th-TH">
              <a:solidFill>
                <a:prstClr val="black">
                  <a:tint val="75000"/>
                </a:prstClr>
              </a:solidFill>
              <a:latin typeface="Calibri" panose="020F0502020204030204"/>
              <a:cs typeface="Cordia New" panose="020B0304020202020204" pitchFamily="34" charset="-3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th-TH">
              <a:solidFill>
                <a:prstClr val="black">
                  <a:tint val="75000"/>
                </a:prstClr>
              </a:solidFill>
              <a:latin typeface="Calibri" panose="020F0502020204030204"/>
              <a:cs typeface="Cordia New" panose="020B0304020202020204" pitchFamily="34" charset="-3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3561BA9-CDCF-4958-B8AB-66F3BF063E13}" type="slidenum">
              <a:rPr lang="th-TH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Cordia New" panose="020B0304020202020204" pitchFamily="34" charset="-34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  <a:latin typeface="Calibri" panose="020F0502020204030204"/>
              <a:cs typeface="Cordia New" panose="020B0304020202020204" pitchFamily="34" charset="-34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8"/>
          <p:cNvCxnSpPr/>
          <p:nvPr/>
        </p:nvCxnSpPr>
        <p:spPr>
          <a:xfrm flipH="1">
            <a:off x="1304300" y="796324"/>
            <a:ext cx="7866078" cy="0"/>
          </a:xfrm>
          <a:prstGeom prst="line">
            <a:avLst/>
          </a:prstGeom>
          <a:noFill/>
          <a:ln w="28575" cap="flat" cmpd="sng" algn="ctr">
            <a:solidFill>
              <a:srgbClr val="E7E6E6">
                <a:lumMod val="25000"/>
              </a:srgbClr>
            </a:solidFill>
            <a:prstDash val="solid"/>
            <a:miter lim="800000"/>
          </a:ln>
          <a:effectLst/>
        </p:spPr>
      </p:cxnSp>
      <p:pic>
        <p:nvPicPr>
          <p:cNvPr id="8" name="Picture 19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27849" b="28279"/>
          <a:stretch>
            <a:fillRect/>
          </a:stretch>
        </p:blipFill>
        <p:spPr>
          <a:xfrm>
            <a:off x="7561385" y="2160453"/>
            <a:ext cx="4630615" cy="4343864"/>
          </a:xfrm>
          <a:prstGeom prst="rect">
            <a:avLst/>
          </a:prstGeom>
        </p:spPr>
      </p:pic>
      <p:pic>
        <p:nvPicPr>
          <p:cNvPr id="9" name="รูปภาพ 4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577" y="86264"/>
            <a:ext cx="1148200" cy="10944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" name="Group 13"/>
          <p:cNvGrpSpPr/>
          <p:nvPr/>
        </p:nvGrpSpPr>
        <p:grpSpPr>
          <a:xfrm>
            <a:off x="1639015" y="6504319"/>
            <a:ext cx="10552986" cy="258793"/>
            <a:chOff x="2191111" y="6599207"/>
            <a:chExt cx="10552986" cy="258793"/>
          </a:xfrm>
          <a:solidFill>
            <a:srgbClr val="2CB8AE"/>
          </a:solidFill>
        </p:grpSpPr>
        <p:sp>
          <p:nvSpPr>
            <p:cNvPr id="11" name="Flowchart: Manual Input 11"/>
            <p:cNvSpPr/>
            <p:nvPr/>
          </p:nvSpPr>
          <p:spPr>
            <a:xfrm rot="16200000" flipH="1">
              <a:off x="2493036" y="6297283"/>
              <a:ext cx="258792" cy="862641"/>
            </a:xfrm>
            <a:prstGeom prst="flowChartManualInpu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Rectangle 12"/>
            <p:cNvSpPr/>
            <p:nvPr/>
          </p:nvSpPr>
          <p:spPr>
            <a:xfrm>
              <a:off x="2872596" y="6599207"/>
              <a:ext cx="9871501" cy="258792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3" name="Group 15"/>
          <p:cNvGrpSpPr/>
          <p:nvPr/>
        </p:nvGrpSpPr>
        <p:grpSpPr>
          <a:xfrm flipH="1" flipV="1">
            <a:off x="0" y="6608085"/>
            <a:ext cx="1663140" cy="258793"/>
            <a:chOff x="2191111" y="6599208"/>
            <a:chExt cx="1663140" cy="258793"/>
          </a:xfrm>
          <a:solidFill>
            <a:srgbClr val="E7E6E6">
              <a:lumMod val="25000"/>
            </a:srgbClr>
          </a:solidFill>
        </p:grpSpPr>
        <p:sp>
          <p:nvSpPr>
            <p:cNvPr id="14" name="Flowchart: Manual Input 16"/>
            <p:cNvSpPr/>
            <p:nvPr/>
          </p:nvSpPr>
          <p:spPr>
            <a:xfrm rot="16200000" flipH="1">
              <a:off x="2493036" y="6297283"/>
              <a:ext cx="258792" cy="862641"/>
            </a:xfrm>
            <a:prstGeom prst="flowChartManualInpu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Rectangle 17"/>
            <p:cNvSpPr/>
            <p:nvPr/>
          </p:nvSpPr>
          <p:spPr>
            <a:xfrm>
              <a:off x="2872597" y="6599208"/>
              <a:ext cx="981654" cy="258793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16" name="Pictur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170639" y="137939"/>
            <a:ext cx="1363006" cy="777856"/>
          </a:xfrm>
          <a:prstGeom prst="rect">
            <a:avLst/>
          </a:prstGeom>
          <a:ln w="12700">
            <a:noFill/>
          </a:ln>
          <a:effectLst/>
        </p:spPr>
      </p:pic>
      <p:pic>
        <p:nvPicPr>
          <p:cNvPr id="17" name="Picture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601537" y="137939"/>
            <a:ext cx="1444181" cy="777856"/>
          </a:xfrm>
          <a:prstGeom prst="rect">
            <a:avLst/>
          </a:prstGeom>
          <a:ln w="12700">
            <a:noFill/>
          </a:ln>
          <a:effectLst/>
        </p:spPr>
      </p:pic>
      <p:sp>
        <p:nvSpPr>
          <p:cNvPr id="18" name="Slide Number Placeholder 4"/>
          <p:cNvSpPr txBox="1"/>
          <p:nvPr/>
        </p:nvSpPr>
        <p:spPr>
          <a:xfrm>
            <a:off x="9302518" y="647512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87042CA9-F3E6-44F8-A916-4BD1AE642894}" type="slidenum">
              <a:rPr kumimoji="0" lang="en-US" sz="2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H SarabunPSK" panose="020B0500040200020003" pitchFamily="34" charset="-34"/>
                <a:ea typeface="+mn-ea"/>
                <a:cs typeface="TH SarabunPSK" panose="020B0500040200020003" pitchFamily="34" charset="-34"/>
              </a:rPr>
              <a:pPr marL="0" marR="0" lvl="0" indent="0" algn="r" defTabSz="10972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t>‹#›</a:t>
            </a:fld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H SarabunPSK" panose="020B0500040200020003" pitchFamily="34" charset="-34"/>
              <a:ea typeface="+mn-ea"/>
              <a:cs typeface="TH SarabunPSK" panose="020B0500040200020003" pitchFamily="34" charset="-34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899" r:id="rId1"/>
    <p:sldLayoutId id="2147483900" r:id="rId2"/>
    <p:sldLayoutId id="2147483901" r:id="rId3"/>
    <p:sldLayoutId id="2147483902" r:id="rId4"/>
    <p:sldLayoutId id="2147483903" r:id="rId5"/>
    <p:sldLayoutId id="2147483904" r:id="rId6"/>
    <p:sldLayoutId id="2147483905" r:id="rId7"/>
    <p:sldLayoutId id="2147483906" r:id="rId8"/>
    <p:sldLayoutId id="2147483907" r:id="rId9"/>
    <p:sldLayoutId id="2147483908" r:id="rId10"/>
    <p:sldLayoutId id="2147483909" r:id="rId11"/>
    <p:sldLayoutId id="2147483910" r:id="rId12"/>
    <p:sldLayoutId id="2147483911" r:id="rId13"/>
    <p:sldLayoutId id="2147483912" r:id="rId14"/>
    <p:sldLayoutId id="2147483913" r:id="rId15"/>
    <p:sldLayoutId id="2147483914" r:id="rId16"/>
    <p:sldLayoutId id="2147483915" r:id="rId17"/>
    <p:sldLayoutId id="2147483916" r:id="rId18"/>
    <p:sldLayoutId id="2147483917" r:id="rId19"/>
  </p:sldLayoutIdLst>
  <p:txStyles>
    <p:titleStyle>
      <a:lvl1pPr algn="l" defTabSz="556895" rtl="0" eaLnBrk="1" latinLnBrk="0" hangingPunct="1">
        <a:lnSpc>
          <a:spcPct val="90000"/>
        </a:lnSpc>
        <a:spcBef>
          <a:spcPct val="0"/>
        </a:spcBef>
        <a:buNone/>
        <a:defRPr sz="268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9065" indent="-139065" algn="l" defTabSz="556895" rtl="0" eaLnBrk="1" latinLnBrk="0" hangingPunct="1">
        <a:lnSpc>
          <a:spcPct val="90000"/>
        </a:lnSpc>
        <a:spcBef>
          <a:spcPts val="610"/>
        </a:spcBef>
        <a:buFont typeface="Arial" panose="020B0604020202020204" pitchFamily="34" charset="0"/>
        <a:buChar char="•"/>
        <a:defRPr sz="1705" kern="1200">
          <a:solidFill>
            <a:schemeClr val="tx1"/>
          </a:solidFill>
          <a:latin typeface="+mn-lt"/>
          <a:ea typeface="+mn-ea"/>
          <a:cs typeface="+mn-cs"/>
        </a:defRPr>
      </a:lvl1pPr>
      <a:lvl2pPr marL="417830" indent="-139065" algn="l" defTabSz="556895" rtl="0" eaLnBrk="1" latinLnBrk="0" hangingPunct="1">
        <a:lnSpc>
          <a:spcPct val="90000"/>
        </a:lnSpc>
        <a:spcBef>
          <a:spcPts val="305"/>
        </a:spcBef>
        <a:buFont typeface="Arial" panose="020B0604020202020204" pitchFamily="34" charset="0"/>
        <a:buChar char="•"/>
        <a:defRPr sz="1465" kern="1200">
          <a:solidFill>
            <a:schemeClr val="tx1"/>
          </a:solidFill>
          <a:latin typeface="+mn-lt"/>
          <a:ea typeface="+mn-ea"/>
          <a:cs typeface="+mn-cs"/>
        </a:defRPr>
      </a:lvl2pPr>
      <a:lvl3pPr marL="696595" indent="-139065" algn="l" defTabSz="556895" rtl="0" eaLnBrk="1" latinLnBrk="0" hangingPunct="1">
        <a:lnSpc>
          <a:spcPct val="90000"/>
        </a:lnSpc>
        <a:spcBef>
          <a:spcPts val="305"/>
        </a:spcBef>
        <a:buFont typeface="Arial" panose="020B0604020202020204" pitchFamily="34" charset="0"/>
        <a:buChar char="•"/>
        <a:defRPr sz="1220" kern="1200">
          <a:solidFill>
            <a:schemeClr val="tx1"/>
          </a:solidFill>
          <a:latin typeface="+mn-lt"/>
          <a:ea typeface="+mn-ea"/>
          <a:cs typeface="+mn-cs"/>
        </a:defRPr>
      </a:lvl3pPr>
      <a:lvl4pPr marL="975360" indent="-139065" algn="l" defTabSz="556895" rtl="0" eaLnBrk="1" latinLnBrk="0" hangingPunct="1">
        <a:lnSpc>
          <a:spcPct val="90000"/>
        </a:lnSpc>
        <a:spcBef>
          <a:spcPts val="305"/>
        </a:spcBef>
        <a:buFont typeface="Arial" panose="020B0604020202020204" pitchFamily="34" charset="0"/>
        <a:buChar char="•"/>
        <a:defRPr sz="1095" kern="1200">
          <a:solidFill>
            <a:schemeClr val="tx1"/>
          </a:solidFill>
          <a:latin typeface="+mn-lt"/>
          <a:ea typeface="+mn-ea"/>
          <a:cs typeface="+mn-cs"/>
        </a:defRPr>
      </a:lvl4pPr>
      <a:lvl5pPr marL="1253490" indent="-139065" algn="l" defTabSz="556895" rtl="0" eaLnBrk="1" latinLnBrk="0" hangingPunct="1">
        <a:lnSpc>
          <a:spcPct val="90000"/>
        </a:lnSpc>
        <a:spcBef>
          <a:spcPts val="305"/>
        </a:spcBef>
        <a:buFont typeface="Arial" panose="020B0604020202020204" pitchFamily="34" charset="0"/>
        <a:buChar char="•"/>
        <a:defRPr sz="1095" kern="1200">
          <a:solidFill>
            <a:schemeClr val="tx1"/>
          </a:solidFill>
          <a:latin typeface="+mn-lt"/>
          <a:ea typeface="+mn-ea"/>
          <a:cs typeface="+mn-cs"/>
        </a:defRPr>
      </a:lvl5pPr>
      <a:lvl6pPr marL="1532255" indent="-139065" algn="l" defTabSz="556895" rtl="0" eaLnBrk="1" latinLnBrk="0" hangingPunct="1">
        <a:lnSpc>
          <a:spcPct val="90000"/>
        </a:lnSpc>
        <a:spcBef>
          <a:spcPts val="305"/>
        </a:spcBef>
        <a:buFont typeface="Arial" panose="020B0604020202020204" pitchFamily="34" charset="0"/>
        <a:buChar char="•"/>
        <a:defRPr sz="1095" kern="1200">
          <a:solidFill>
            <a:schemeClr val="tx1"/>
          </a:solidFill>
          <a:latin typeface="+mn-lt"/>
          <a:ea typeface="+mn-ea"/>
          <a:cs typeface="+mn-cs"/>
        </a:defRPr>
      </a:lvl6pPr>
      <a:lvl7pPr marL="1811020" indent="-139065" algn="l" defTabSz="556895" rtl="0" eaLnBrk="1" latinLnBrk="0" hangingPunct="1">
        <a:lnSpc>
          <a:spcPct val="90000"/>
        </a:lnSpc>
        <a:spcBef>
          <a:spcPts val="305"/>
        </a:spcBef>
        <a:buFont typeface="Arial" panose="020B0604020202020204" pitchFamily="34" charset="0"/>
        <a:buChar char="•"/>
        <a:defRPr sz="1095" kern="1200">
          <a:solidFill>
            <a:schemeClr val="tx1"/>
          </a:solidFill>
          <a:latin typeface="+mn-lt"/>
          <a:ea typeface="+mn-ea"/>
          <a:cs typeface="+mn-cs"/>
        </a:defRPr>
      </a:lvl7pPr>
      <a:lvl8pPr marL="2089785" indent="-139065" algn="l" defTabSz="556895" rtl="0" eaLnBrk="1" latinLnBrk="0" hangingPunct="1">
        <a:lnSpc>
          <a:spcPct val="90000"/>
        </a:lnSpc>
        <a:spcBef>
          <a:spcPts val="305"/>
        </a:spcBef>
        <a:buFont typeface="Arial" panose="020B0604020202020204" pitchFamily="34" charset="0"/>
        <a:buChar char="•"/>
        <a:defRPr sz="1095" kern="1200">
          <a:solidFill>
            <a:schemeClr val="tx1"/>
          </a:solidFill>
          <a:latin typeface="+mn-lt"/>
          <a:ea typeface="+mn-ea"/>
          <a:cs typeface="+mn-cs"/>
        </a:defRPr>
      </a:lvl8pPr>
      <a:lvl9pPr marL="2367915" indent="-139065" algn="l" defTabSz="556895" rtl="0" eaLnBrk="1" latinLnBrk="0" hangingPunct="1">
        <a:lnSpc>
          <a:spcPct val="90000"/>
        </a:lnSpc>
        <a:spcBef>
          <a:spcPts val="305"/>
        </a:spcBef>
        <a:buFont typeface="Arial" panose="020B0604020202020204" pitchFamily="34" charset="0"/>
        <a:buChar char="•"/>
        <a:defRPr sz="109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56895" rtl="0" eaLnBrk="1" latinLnBrk="0" hangingPunct="1">
        <a:defRPr sz="1095" kern="1200">
          <a:solidFill>
            <a:schemeClr val="tx1"/>
          </a:solidFill>
          <a:latin typeface="+mn-lt"/>
          <a:ea typeface="+mn-ea"/>
          <a:cs typeface="+mn-cs"/>
        </a:defRPr>
      </a:lvl1pPr>
      <a:lvl2pPr marL="278765" algn="l" defTabSz="556895" rtl="0" eaLnBrk="1" latinLnBrk="0" hangingPunct="1">
        <a:defRPr sz="1095" kern="1200">
          <a:solidFill>
            <a:schemeClr val="tx1"/>
          </a:solidFill>
          <a:latin typeface="+mn-lt"/>
          <a:ea typeface="+mn-ea"/>
          <a:cs typeface="+mn-cs"/>
        </a:defRPr>
      </a:lvl2pPr>
      <a:lvl3pPr marL="557530" algn="l" defTabSz="556895" rtl="0" eaLnBrk="1" latinLnBrk="0" hangingPunct="1">
        <a:defRPr sz="1095" kern="1200">
          <a:solidFill>
            <a:schemeClr val="tx1"/>
          </a:solidFill>
          <a:latin typeface="+mn-lt"/>
          <a:ea typeface="+mn-ea"/>
          <a:cs typeface="+mn-cs"/>
        </a:defRPr>
      </a:lvl3pPr>
      <a:lvl4pPr marL="835660" algn="l" defTabSz="556895" rtl="0" eaLnBrk="1" latinLnBrk="0" hangingPunct="1">
        <a:defRPr sz="1095" kern="1200">
          <a:solidFill>
            <a:schemeClr val="tx1"/>
          </a:solidFill>
          <a:latin typeface="+mn-lt"/>
          <a:ea typeface="+mn-ea"/>
          <a:cs typeface="+mn-cs"/>
        </a:defRPr>
      </a:lvl4pPr>
      <a:lvl5pPr marL="1114425" algn="l" defTabSz="556895" rtl="0" eaLnBrk="1" latinLnBrk="0" hangingPunct="1">
        <a:defRPr sz="1095" kern="1200">
          <a:solidFill>
            <a:schemeClr val="tx1"/>
          </a:solidFill>
          <a:latin typeface="+mn-lt"/>
          <a:ea typeface="+mn-ea"/>
          <a:cs typeface="+mn-cs"/>
        </a:defRPr>
      </a:lvl5pPr>
      <a:lvl6pPr marL="1393190" algn="l" defTabSz="556895" rtl="0" eaLnBrk="1" latinLnBrk="0" hangingPunct="1">
        <a:defRPr sz="1095" kern="1200">
          <a:solidFill>
            <a:schemeClr val="tx1"/>
          </a:solidFill>
          <a:latin typeface="+mn-lt"/>
          <a:ea typeface="+mn-ea"/>
          <a:cs typeface="+mn-cs"/>
        </a:defRPr>
      </a:lvl6pPr>
      <a:lvl7pPr marL="1671955" algn="l" defTabSz="556895" rtl="0" eaLnBrk="1" latinLnBrk="0" hangingPunct="1">
        <a:defRPr sz="1095" kern="1200">
          <a:solidFill>
            <a:schemeClr val="tx1"/>
          </a:solidFill>
          <a:latin typeface="+mn-lt"/>
          <a:ea typeface="+mn-ea"/>
          <a:cs typeface="+mn-cs"/>
        </a:defRPr>
      </a:lvl7pPr>
      <a:lvl8pPr marL="1950085" algn="l" defTabSz="556895" rtl="0" eaLnBrk="1" latinLnBrk="0" hangingPunct="1">
        <a:defRPr sz="1095" kern="1200">
          <a:solidFill>
            <a:schemeClr val="tx1"/>
          </a:solidFill>
          <a:latin typeface="+mn-lt"/>
          <a:ea typeface="+mn-ea"/>
          <a:cs typeface="+mn-cs"/>
        </a:defRPr>
      </a:lvl8pPr>
      <a:lvl9pPr marL="2228850" algn="l" defTabSz="556895" rtl="0" eaLnBrk="1" latinLnBrk="0" hangingPunct="1">
        <a:defRPr sz="109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ตัวแทนเนื้อหา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2431217451"/>
              </p:ext>
            </p:extLst>
          </p:nvPr>
        </p:nvGraphicFramePr>
        <p:xfrm>
          <a:off x="191344" y="836713"/>
          <a:ext cx="5834090" cy="5797097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864096"/>
                <a:gridCol w="4969994"/>
              </a:tblGrid>
              <a:tr h="313665">
                <a:tc>
                  <a:txBody>
                    <a:bodyPr/>
                    <a:lstStyle/>
                    <a:p>
                      <a:pPr algn="ctr"/>
                      <a:r>
                        <a:rPr lang="th-TH" sz="12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หน่วยงาน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th-TH" sz="12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รายการโครงการ</a:t>
                      </a:r>
                    </a:p>
                  </a:txBody>
                  <a:tcPr/>
                </a:tc>
              </a:tr>
              <a:tr h="313665">
                <a:tc>
                  <a:txBody>
                    <a:bodyPr/>
                    <a:lstStyle/>
                    <a:p>
                      <a:pPr algn="ctr"/>
                      <a:r>
                        <a:rPr lang="th-TH" sz="1200" b="1" dirty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นพ</a:t>
                      </a:r>
                      <a:r>
                        <a:rPr lang="th-TH" sz="12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/>
                      <a:r>
                        <a:rPr lang="th-TH" sz="12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.การจัดทำแผนพลังงานแห่งชาติ</a:t>
                      </a:r>
                    </a:p>
                  </a:txBody>
                  <a:tcPr/>
                </a:tc>
              </a:tr>
              <a:tr h="313665">
                <a:tc>
                  <a:txBody>
                    <a:bodyPr/>
                    <a:lstStyle/>
                    <a:p>
                      <a:pPr algn="ctr"/>
                      <a:endParaRPr lang="th-TH" sz="1200" b="1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/>
                      <a:r>
                        <a:rPr lang="th-TH" sz="12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.การส่งเสริมการแข่งขันในกิจการไฟฟ้า</a:t>
                      </a:r>
                    </a:p>
                  </a:txBody>
                  <a:tcPr/>
                </a:tc>
              </a:tr>
              <a:tr h="522775">
                <a:tc>
                  <a:txBody>
                    <a:bodyPr/>
                    <a:lstStyle/>
                    <a:p>
                      <a:pPr algn="ctr"/>
                      <a:endParaRPr lang="th-TH" sz="1200" b="1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3030" lvl="0" indent="-113030" algn="l">
                        <a:buNone/>
                      </a:pPr>
                      <a:r>
                        <a:rPr lang="th-TH" sz="1200" b="1" kern="12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.โครงการประเมินผลการส่งเสริมการใช้เชื้อเพลิงชีวภาพในภาคขนส่งและทบทวนหลักเกณฑ์การกำหนดราคาเชื้อเพลิงชีวภาพ</a:t>
                      </a:r>
                      <a:endParaRPr lang="en-US" sz="1200" b="1" kern="1200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</a:tr>
              <a:tr h="313665">
                <a:tc>
                  <a:txBody>
                    <a:bodyPr/>
                    <a:lstStyle/>
                    <a:p>
                      <a:pPr algn="ctr"/>
                      <a:endParaRPr lang="th-TH" sz="1200" b="1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th-TH" sz="1200" b="1" kern="12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. การปรับโครงสร้างราคาน้ำมันเชื้อเพลิง (ผีเสื้อกระพือปีก)</a:t>
                      </a:r>
                      <a:endParaRPr lang="th-TH" sz="1200" b="1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</a:tr>
              <a:tr h="313665">
                <a:tc>
                  <a:txBody>
                    <a:bodyPr/>
                    <a:lstStyle/>
                    <a:p>
                      <a:pPr algn="ctr"/>
                      <a:endParaRPr lang="th-TH" sz="1200" b="1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th-TH" sz="1200" b="1" kern="12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. แนวทางการบริหารจัดการไฟฟ้าสำรอง</a:t>
                      </a:r>
                      <a:endParaRPr lang="th-TH" sz="1200" b="1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</a:tr>
              <a:tr h="348516">
                <a:tc>
                  <a:txBody>
                    <a:bodyPr/>
                    <a:lstStyle/>
                    <a:p>
                      <a:pPr algn="ctr"/>
                      <a:endParaRPr lang="th-TH" sz="1200" b="1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th-TH" sz="1200" b="1" kern="1200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. การวางเป้าหมายของไทยสู่</a:t>
                      </a:r>
                      <a:r>
                        <a:rPr lang="th-TH" sz="1200" b="1" kern="1200" baseline="0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arbon Neutral</a:t>
                      </a:r>
                      <a:endParaRPr lang="th-TH" sz="12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</a:tr>
              <a:tr h="348516">
                <a:tc>
                  <a:txBody>
                    <a:bodyPr/>
                    <a:lstStyle/>
                    <a:p>
                      <a:pPr algn="ctr"/>
                      <a:endParaRPr lang="th-TH" sz="1200" b="1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. </a:t>
                      </a:r>
                      <a:r>
                        <a:rPr lang="th-TH" sz="1200" b="1" kern="1200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แผนบูรณาการ </a:t>
                      </a: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 </a:t>
                      </a:r>
                      <a:r>
                        <a:rPr lang="th-TH" sz="1200" b="1" kern="1200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การ และ </a:t>
                      </a: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Grid Modernization</a:t>
                      </a:r>
                      <a:endParaRPr lang="th-TH" sz="12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</a:tr>
              <a:tr h="313665">
                <a:tc>
                  <a:txBody>
                    <a:bodyPr/>
                    <a:lstStyle/>
                    <a:p>
                      <a:pPr algn="ctr"/>
                      <a:endParaRPr lang="th-TH" sz="1200" b="1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th-TH" sz="1200" b="1" kern="1200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. การรับซื้อไฟฟ้าจากต่างประเทศ</a:t>
                      </a:r>
                      <a:endParaRPr lang="th-TH" sz="12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</a:tr>
              <a:tr h="313665">
                <a:tc>
                  <a:txBody>
                    <a:bodyPr/>
                    <a:lstStyle/>
                    <a:p>
                      <a:pPr algn="ctr"/>
                      <a:endParaRPr lang="th-TH" sz="1200" b="1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th-TH" sz="1200" b="1" kern="1200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. การขายไฟฟ้าส่วนเกินไปยังประเทศเพื่อนบ้าน</a:t>
                      </a:r>
                      <a:endParaRPr lang="th-TH" sz="12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</a:tr>
              <a:tr h="313665">
                <a:tc>
                  <a:txBody>
                    <a:bodyPr/>
                    <a:lstStyle/>
                    <a:p>
                      <a:pPr algn="ctr"/>
                      <a:endParaRPr lang="th-TH" sz="1200" b="1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th-TH" sz="1200" b="1" kern="1200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. การส่งเสริมยานยนต์ไฟฟ้า</a:t>
                      </a:r>
                      <a:endParaRPr lang="th-TH" sz="12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</a:tr>
              <a:tr h="313665">
                <a:tc>
                  <a:txBody>
                    <a:bodyPr/>
                    <a:lstStyle/>
                    <a:p>
                      <a:pPr algn="ctr"/>
                      <a:endParaRPr lang="th-TH" sz="1200" b="1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th-TH" sz="1200" b="1" kern="1200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1.</a:t>
                      </a:r>
                      <a:r>
                        <a:rPr lang="th-TH" sz="1200" b="1" kern="1200" baseline="0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th-TH" sz="1200" b="1" kern="1200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การส่งเสริมระบบกักเก็บพลังงาน </a:t>
                      </a: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(ESS)</a:t>
                      </a:r>
                      <a:endParaRPr lang="th-TH" sz="12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</a:tr>
              <a:tr h="313665">
                <a:tc>
                  <a:txBody>
                    <a:bodyPr/>
                    <a:lstStyle/>
                    <a:p>
                      <a:pPr algn="ctr"/>
                      <a:endParaRPr lang="th-TH" sz="1200" b="1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th-TH" sz="1200" b="1" kern="1200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2. ศูนย์สารสนเทศพลังงานแห่งชาติ</a:t>
                      </a:r>
                      <a:endParaRPr lang="th-TH" sz="12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</a:tr>
              <a:tr h="313665">
                <a:tc>
                  <a:txBody>
                    <a:bodyPr/>
                    <a:lstStyle/>
                    <a:p>
                      <a:pPr algn="ctr"/>
                      <a:r>
                        <a:rPr lang="th-TH" sz="1200" b="1" kern="1200" dirty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พพ</a:t>
                      </a:r>
                      <a:r>
                        <a:rPr lang="th-TH" sz="1200" b="1" kern="12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</a:t>
                      </a:r>
                      <a:endParaRPr lang="th-TH" sz="1200" b="1" kern="1200" dirty="0">
                        <a:solidFill>
                          <a:schemeClr val="dk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defRPr/>
                      </a:pPr>
                      <a:r>
                        <a:rPr lang="th-TH" sz="1200" b="1" kern="1200" dirty="0" smtClean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่งเสริม </a:t>
                      </a:r>
                      <a:r>
                        <a:rPr lang="en-US" sz="1200" b="1" kern="1200" dirty="0" smtClean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E </a:t>
                      </a:r>
                      <a:r>
                        <a:rPr lang="th-TH" sz="1200" b="1" kern="1200" dirty="0" smtClean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ภาคความร้อน  </a:t>
                      </a:r>
                      <a:endParaRPr lang="en-US" sz="1200" b="1" kern="120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</a:tr>
              <a:tr h="313665">
                <a:tc>
                  <a:txBody>
                    <a:bodyPr/>
                    <a:lstStyle/>
                    <a:p>
                      <a:pPr algn="ctr"/>
                      <a:endParaRPr lang="th-TH" sz="1200" b="1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0180" indent="-170180" algn="l" defTabSz="914400" rtl="0" eaLnBrk="1" latinLnBrk="0" hangingPunct="1">
                        <a:buNone/>
                      </a:pPr>
                      <a:r>
                        <a:rPr lang="th-TH" sz="1200" b="1" kern="120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. </a:t>
                      </a:r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ESCO </a:t>
                      </a:r>
                      <a:r>
                        <a:rPr lang="th-TH" sz="1200" b="1" kern="120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หน่วยงานภาครัฐ</a:t>
                      </a:r>
                      <a:endParaRPr lang="en-US" sz="1200" b="1" kern="120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</a:tr>
              <a:tr h="406655">
                <a:tc>
                  <a:txBody>
                    <a:bodyPr/>
                    <a:lstStyle/>
                    <a:p>
                      <a:pPr algn="ctr"/>
                      <a:endParaRPr lang="th-TH" sz="1200" b="1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th-TH" sz="1200" b="1" kern="1200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. การดำเนินการ </a:t>
                      </a: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EC</a:t>
                      </a:r>
                    </a:p>
                  </a:txBody>
                  <a:tcPr/>
                </a:tc>
              </a:tr>
              <a:tr h="406655">
                <a:tc>
                  <a:txBody>
                    <a:bodyPr/>
                    <a:lstStyle/>
                    <a:p>
                      <a:pPr algn="ctr"/>
                      <a:endParaRPr lang="th-TH" sz="1200" b="1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. </a:t>
                      </a:r>
                      <a:r>
                        <a:rPr lang="th-TH" sz="1200" b="1" kern="1200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โรงไฟฟ้าชุมชน</a:t>
                      </a:r>
                      <a:endParaRPr lang="en-US" sz="1200" b="1" kern="1200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ตัวแทนหมายเลขภาพนิ่ง 3"/>
          <p:cNvSpPr>
            <a:spLocks noGrp="1"/>
          </p:cNvSpPr>
          <p:nvPr>
            <p:ph type="sldNum" sz="quarter" idx="12"/>
          </p:nvPr>
        </p:nvSpPr>
        <p:spPr>
          <a:xfrm>
            <a:off x="8610600" y="6140326"/>
            <a:ext cx="2743200" cy="365125"/>
          </a:xfrm>
        </p:spPr>
        <p:txBody>
          <a:bodyPr/>
          <a:lstStyle/>
          <a:p>
            <a:pPr defTabSz="685800">
              <a:defRPr/>
            </a:pPr>
            <a:fld id="{B3561BA9-CDCF-4958-B8AB-66F3BF063E13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1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extBox 19"/>
          <p:cNvSpPr txBox="1"/>
          <p:nvPr/>
        </p:nvSpPr>
        <p:spPr>
          <a:xfrm>
            <a:off x="-70566" y="0"/>
            <a:ext cx="12192000" cy="398780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th-TH" sz="2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th-TH" altLang="th-TH" sz="2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th-TH" altLang="th-TH" sz="2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ข้อเสนอแผนงาน/โครงการตามนโยบายสำคัญ  </a:t>
            </a:r>
            <a:r>
              <a:rPr lang="en-US" altLang="th-TH" sz="2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3 </a:t>
            </a:r>
            <a:r>
              <a:rPr lang="th-TH" altLang="th-TH" sz="2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เรื่อง</a:t>
            </a:r>
            <a:endParaRPr lang="en-US" altLang="th-TH" sz="20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8" name="ตัวแทนเนื้อหา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2559046697"/>
              </p:ext>
            </p:extLst>
          </p:nvPr>
        </p:nvGraphicFramePr>
        <p:xfrm>
          <a:off x="6096000" y="836928"/>
          <a:ext cx="6023610" cy="5796876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935990"/>
                <a:gridCol w="5087620"/>
              </a:tblGrid>
              <a:tr h="292873">
                <a:tc>
                  <a:txBody>
                    <a:bodyPr/>
                    <a:lstStyle/>
                    <a:p>
                      <a:pPr algn="ctr"/>
                      <a:r>
                        <a:rPr lang="th-TH" sz="12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หน่วยงาน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th-TH" sz="12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รายการโครงการ</a:t>
                      </a:r>
                    </a:p>
                  </a:txBody>
                  <a:tcPr/>
                </a:tc>
              </a:tr>
              <a:tr h="312096">
                <a:tc>
                  <a:txBody>
                    <a:bodyPr/>
                    <a:lstStyle/>
                    <a:p>
                      <a:pPr algn="ctr"/>
                      <a:r>
                        <a:rPr lang="th-TH" sz="1200" b="1" dirty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ชธ</a:t>
                      </a:r>
                      <a:r>
                        <a:rPr lang="th-TH" sz="12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th-TH" sz="1200" b="1" kern="12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.การเตรียมความพร้อมด้านการพัฒนาร่วมในพื้นที่ </a:t>
                      </a:r>
                      <a:r>
                        <a:rPr lang="en-US" sz="1200" b="1" kern="12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OCA</a:t>
                      </a:r>
                      <a:endParaRPr lang="th-TH" sz="1200" b="1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</a:tr>
              <a:tr h="297880">
                <a:tc>
                  <a:txBody>
                    <a:bodyPr/>
                    <a:lstStyle/>
                    <a:p>
                      <a:pPr algn="ctr"/>
                      <a:endParaRPr lang="th-TH" sz="1200" b="1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th-TH" sz="1200" b="1" kern="12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.กระบวนการอนุญาโตตุลาการ</a:t>
                      </a:r>
                      <a:endParaRPr lang="th-TH" sz="1200" b="1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</a:tr>
              <a:tr h="312096">
                <a:tc>
                  <a:txBody>
                    <a:bodyPr/>
                    <a:lstStyle/>
                    <a:p>
                      <a:pPr algn="ctr"/>
                      <a:endParaRPr lang="th-TH" sz="1200" b="1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1" kern="12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.Decommissioning</a:t>
                      </a:r>
                      <a:endParaRPr lang="th-TH" sz="1200" b="1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</a:tr>
              <a:tr h="312096">
                <a:tc>
                  <a:txBody>
                    <a:bodyPr/>
                    <a:lstStyle/>
                    <a:p>
                      <a:pPr algn="ctr"/>
                      <a:endParaRPr lang="th-TH" sz="1200" b="1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1" kern="12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.New Bidding Round</a:t>
                      </a:r>
                      <a:endParaRPr lang="th-TH" sz="1200" b="1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</a:tr>
              <a:tr h="312742">
                <a:tc>
                  <a:txBody>
                    <a:bodyPr/>
                    <a:lstStyle/>
                    <a:p>
                      <a:pPr algn="ctr"/>
                      <a:r>
                        <a:rPr lang="th-TH" sz="1200" b="1" dirty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ธพ</a:t>
                      </a:r>
                      <a:r>
                        <a:rPr lang="th-TH" sz="12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th-TH" sz="1200" b="1" kern="12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.นโยบายส่งเสริม</a:t>
                      </a:r>
                      <a:r>
                        <a:rPr lang="th-TH" sz="1200" b="1" kern="1200" baseline="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อี20</a:t>
                      </a:r>
                      <a:endParaRPr lang="th-TH" sz="1200" b="1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</a:tr>
              <a:tr h="290773">
                <a:tc>
                  <a:txBody>
                    <a:bodyPr/>
                    <a:lstStyle/>
                    <a:p>
                      <a:pPr algn="ctr"/>
                      <a:endParaRPr lang="th-TH" sz="1200" b="1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th-TH" sz="1200" b="1" kern="12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.มาตรการป้องกันการลักลอบนำเข้า </a:t>
                      </a:r>
                      <a:r>
                        <a:rPr lang="en-US" sz="1200" b="1" kern="12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PO </a:t>
                      </a:r>
                      <a:r>
                        <a:rPr lang="th-TH" sz="1200" b="1" kern="12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เพื่อผลิต </a:t>
                      </a:r>
                      <a:r>
                        <a:rPr lang="en-US" sz="1200" b="1" kern="120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100</a:t>
                      </a:r>
                      <a:endParaRPr lang="th-TH" sz="1200" b="1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</a:tr>
              <a:tr h="335358">
                <a:tc>
                  <a:txBody>
                    <a:bodyPr/>
                    <a:lstStyle/>
                    <a:p>
                      <a:pPr algn="ctr"/>
                      <a:endParaRPr lang="th-TH" sz="1200" b="1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th-TH" sz="1200" b="1" kern="1200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.การป้องกันเหตุการณ์ท่อก๊าซระเบิด</a:t>
                      </a:r>
                      <a:endParaRPr lang="th-TH" sz="12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</a:tr>
              <a:tr h="384466">
                <a:tc>
                  <a:txBody>
                    <a:bodyPr/>
                    <a:lstStyle/>
                    <a:p>
                      <a:pPr algn="ctr"/>
                      <a:r>
                        <a:rPr lang="th-TH" sz="1200" b="1" dirty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นง</a:t>
                      </a:r>
                      <a:r>
                        <a:rPr lang="th-TH" sz="12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</a:t>
                      </a:r>
                      <a:r>
                        <a:rPr lang="th-TH" sz="1200" b="1" dirty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กกพ</a:t>
                      </a:r>
                      <a:r>
                        <a:rPr lang="th-TH" sz="12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/>
                      <a:r>
                        <a:rPr lang="th-TH" sz="1200" b="1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.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th-TH" sz="1200" b="1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่งเสริมการผลิตไฟฟ้าจากพลังงานแสงอาทิตย์แบบติดตั้งบนหลังคา</a:t>
                      </a:r>
                    </a:p>
                  </a:txBody>
                  <a:tcPr/>
                </a:tc>
              </a:tr>
              <a:tr h="335358">
                <a:tc>
                  <a:txBody>
                    <a:bodyPr/>
                    <a:lstStyle/>
                    <a:p>
                      <a:pPr algn="ctr"/>
                      <a:endParaRPr lang="th-TH" sz="1200" b="1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/>
                      <a:r>
                        <a:rPr lang="th-TH" sz="1200" b="1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.การรับซื้อไฟฟ้าจาก</a:t>
                      </a:r>
                      <a:r>
                        <a:rPr lang="th-TH" sz="1200" b="1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b="1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E </a:t>
                      </a:r>
                      <a:r>
                        <a:rPr lang="th-TH" sz="1200" b="1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ตามกรอบแผน </a:t>
                      </a:r>
                      <a:r>
                        <a:rPr lang="en-US" sz="1200" b="1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DP2018 rev.1</a:t>
                      </a:r>
                      <a:endParaRPr lang="th-TH" sz="12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</a:tr>
              <a:tr h="290126">
                <a:tc>
                  <a:txBody>
                    <a:bodyPr/>
                    <a:lstStyle/>
                    <a:p>
                      <a:pPr algn="ctr"/>
                      <a:endParaRPr lang="th-TH" sz="1200" b="1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indent="0" algn="l">
                        <a:buNone/>
                      </a:pPr>
                      <a:r>
                        <a:rPr lang="th-TH" sz="1200" b="1" kern="1200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.โรงไฟฟ้าขยายผล</a:t>
                      </a:r>
                      <a:endParaRPr lang="en-US" sz="1200" b="1" kern="1200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</a:tr>
              <a:tr h="290126">
                <a:tc>
                  <a:txBody>
                    <a:bodyPr/>
                    <a:lstStyle/>
                    <a:p>
                      <a:pPr algn="ctr"/>
                      <a:endParaRPr lang="th-TH" sz="1200" b="1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.OSS</a:t>
                      </a:r>
                      <a:endParaRPr lang="th-TH" sz="12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</a:tr>
              <a:tr h="343758">
                <a:tc>
                  <a:txBody>
                    <a:bodyPr/>
                    <a:lstStyle/>
                    <a:p>
                      <a:pPr algn="ctr"/>
                      <a:endParaRPr lang="th-TH" sz="1200" b="1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1" kern="1200" dirty="0" smtClean="0">
                          <a:solidFill>
                            <a:srgbClr val="FF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.Virtual </a:t>
                      </a:r>
                      <a:r>
                        <a:rPr lang="en-US" sz="1200" b="1" kern="1200" dirty="0">
                          <a:solidFill>
                            <a:srgbClr val="FF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PA</a:t>
                      </a:r>
                      <a:r>
                        <a:rPr lang="en-US" sz="1200" b="1" kern="1200" baseline="0" dirty="0">
                          <a:solidFill>
                            <a:srgbClr val="FF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th-TH" sz="1200" b="1" kern="1200" baseline="0" dirty="0">
                          <a:solidFill>
                            <a:srgbClr val="FF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โรงไฟฟ้าพลังงานหมุนเวียน</a:t>
                      </a:r>
                      <a:endParaRPr lang="th-TH" sz="1200" b="1" dirty="0">
                        <a:solidFill>
                          <a:srgbClr val="FF0000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</a:tr>
              <a:tr h="343758">
                <a:tc>
                  <a:txBody>
                    <a:bodyPr/>
                    <a:lstStyle/>
                    <a:p>
                      <a:pPr algn="ctr"/>
                      <a:endParaRPr lang="th-TH" sz="1200" b="1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1" dirty="0">
                          <a:solidFill>
                            <a:srgbClr val="FF000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 RE 100</a:t>
                      </a:r>
                      <a:r>
                        <a:rPr lang="th-TH" sz="1200" b="1" dirty="0">
                          <a:solidFill>
                            <a:srgbClr val="FF000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b="1" dirty="0">
                          <a:solidFill>
                            <a:srgbClr val="FF000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ackage </a:t>
                      </a:r>
                      <a:r>
                        <a:rPr lang="th-TH" sz="1200" b="1" dirty="0">
                          <a:solidFill>
                            <a:srgbClr val="FF000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ภาพรวม</a:t>
                      </a:r>
                      <a:r>
                        <a:rPr lang="th-TH" sz="1200" b="1" dirty="0" smtClean="0">
                          <a:solidFill>
                            <a:srgbClr val="FF000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และในพื้นที่ </a:t>
                      </a:r>
                      <a:r>
                        <a:rPr lang="en-US" sz="1200" b="1" dirty="0">
                          <a:solidFill>
                            <a:srgbClr val="FF000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EEC</a:t>
                      </a:r>
                      <a:endParaRPr lang="th-TH" sz="1200" b="1" dirty="0">
                        <a:solidFill>
                          <a:srgbClr val="FF0000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</a:tr>
              <a:tr h="335358">
                <a:tc>
                  <a:txBody>
                    <a:bodyPr/>
                    <a:lstStyle/>
                    <a:p>
                      <a:pPr algn="ctr"/>
                      <a:r>
                        <a:rPr lang="th-TH" sz="1200" b="1" dirty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กฟผ</a:t>
                      </a:r>
                      <a:r>
                        <a:rPr lang="th-TH" sz="12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sym typeface="+mn-ea"/>
                        </a:rPr>
                        <a:t>1.MOU </a:t>
                      </a:r>
                      <a:r>
                        <a:rPr lang="th-TH" sz="1200" b="1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sym typeface="+mn-ea"/>
                        </a:rPr>
                        <a:t>ระหว่าง </a:t>
                      </a:r>
                      <a:r>
                        <a:rPr lang="th-TH" sz="1200" b="1" dirty="0" err="1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sym typeface="+mn-ea"/>
                        </a:rPr>
                        <a:t>กฟผ</a:t>
                      </a:r>
                      <a:r>
                        <a:rPr lang="th-TH" sz="1200" b="1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sym typeface="+mn-ea"/>
                        </a:rPr>
                        <a:t>. และ ทบ.</a:t>
                      </a:r>
                      <a:endParaRPr lang="th-TH" sz="12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</a:tr>
              <a:tr h="337296">
                <a:tc>
                  <a:txBody>
                    <a:bodyPr/>
                    <a:lstStyle/>
                    <a:p>
                      <a:pPr algn="ctr"/>
                      <a:r>
                        <a:rPr lang="th-TH" sz="12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.</a:t>
                      </a:r>
                      <a:r>
                        <a:rPr lang="th-TH" sz="1200" b="1" dirty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กทอ</a:t>
                      </a:r>
                      <a:r>
                        <a:rPr lang="th-TH" sz="12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th-TH" sz="1200" b="1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.การแก้ปัญหาด้านการเงินตามข้อสังเกตของ</a:t>
                      </a:r>
                      <a:r>
                        <a:rPr lang="th-TH" sz="1200" b="1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th-TH" sz="1200" b="1" baseline="0" dirty="0" err="1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ตง</a:t>
                      </a:r>
                      <a:r>
                        <a:rPr lang="th-TH" sz="1200" b="1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</a:t>
                      </a:r>
                      <a:endParaRPr lang="th-TH" sz="12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</a:tr>
              <a:tr h="335358">
                <a:tc>
                  <a:txBody>
                    <a:bodyPr/>
                    <a:lstStyle/>
                    <a:p>
                      <a:pPr algn="ctr"/>
                      <a:endParaRPr lang="th-TH" sz="1200" b="1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th-TH" sz="1200" b="1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.การแก้ปัญหาประเด็น กอ.</a:t>
                      </a:r>
                      <a:r>
                        <a:rPr lang="th-TH" sz="1200" b="1" dirty="0" err="1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รมน</a:t>
                      </a:r>
                      <a:r>
                        <a:rPr lang="th-TH" sz="1200" b="1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และ </a:t>
                      </a:r>
                      <a:r>
                        <a:rPr lang="th-TH" sz="1200" b="1" dirty="0" err="1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ศอ.บต</a:t>
                      </a:r>
                      <a:r>
                        <a:rPr lang="th-TH" sz="1200" b="1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</a:t>
                      </a:r>
                    </a:p>
                  </a:txBody>
                  <a:tcPr/>
                </a:tc>
              </a:tr>
              <a:tr h="335358">
                <a:tc>
                  <a:txBody>
                    <a:bodyPr/>
                    <a:lstStyle/>
                    <a:p>
                      <a:pPr algn="ctr"/>
                      <a:endParaRPr lang="th-TH" sz="1200" b="1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 </a:t>
                      </a:r>
                      <a:r>
                        <a:rPr lang="th-TH" sz="1200" b="1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การจัดสรรและการทำสัญญายืนยันเงินกองทุนฯ ปี 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564</a:t>
                      </a:r>
                      <a:endParaRPr lang="th-TH" sz="12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Slide Number Placeholder 21"/>
          <p:cNvSpPr txBox="1"/>
          <p:nvPr/>
        </p:nvSpPr>
        <p:spPr>
          <a:xfrm>
            <a:off x="8969375" y="642810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th-TH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fld id="{EC7F76DA-B74B-484A-8D51-A7D0842AECFD}" type="slidenum">
              <a:rPr lang="th-TH" altLang="th-TH" sz="1600" smtClean="0">
                <a:solidFill>
                  <a:srgbClr val="898989"/>
                </a:solidFill>
                <a:latin typeface="Calibri" panose="020F0502020204030204" pitchFamily="34" charset="0"/>
                <a:cs typeface="Cordia New" panose="020B0304020202020204" pitchFamily="34" charset="-34"/>
              </a:rPr>
              <a:pPr eaLnBrk="1" hangingPunct="1">
                <a:defRPr/>
              </a:pPr>
              <a:t>1</a:t>
            </a:fld>
            <a:endParaRPr lang="th-TH" altLang="th-TH" sz="1600" dirty="0">
              <a:solidFill>
                <a:srgbClr val="898989"/>
              </a:solidFill>
              <a:latin typeface="Calibri" panose="020F0502020204030204" pitchFamily="34" charset="0"/>
              <a:cs typeface="Cordia New" panose="020B0304020202020204" pitchFamily="34" charset="-34"/>
            </a:endParaRPr>
          </a:p>
        </p:txBody>
      </p:sp>
      <p:sp>
        <p:nvSpPr>
          <p:cNvPr id="2" name="วงเล็บปีกกาขวา 1"/>
          <p:cNvSpPr/>
          <p:nvPr/>
        </p:nvSpPr>
        <p:spPr>
          <a:xfrm>
            <a:off x="10560496" y="4653136"/>
            <a:ext cx="144016" cy="50405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กล่องข้อความ 2"/>
          <p:cNvSpPr txBox="1"/>
          <p:nvPr/>
        </p:nvSpPr>
        <p:spPr>
          <a:xfrm>
            <a:off x="10848528" y="4725144"/>
            <a:ext cx="1152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h-TH" sz="11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รอปรับข้อมูลส่งเพิ่มเติม</a:t>
            </a:r>
            <a:endParaRPr lang="en-US" sz="1100" b="1" dirty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ตัวแทนหมายเลขภาพนิ่ง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B3561BA9-CDCF-4958-B8AB-66F3BF063E13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2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67797480"/>
              </p:ext>
            </p:extLst>
          </p:nvPr>
        </p:nvGraphicFramePr>
        <p:xfrm>
          <a:off x="358552" y="1052736"/>
          <a:ext cx="11400154" cy="51125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6190"/>
                <a:gridCol w="4158673"/>
                <a:gridCol w="758963"/>
                <a:gridCol w="805251"/>
                <a:gridCol w="732565"/>
                <a:gridCol w="899402"/>
                <a:gridCol w="782708"/>
                <a:gridCol w="864096"/>
                <a:gridCol w="936104"/>
                <a:gridCol w="1126202"/>
              </a:tblGrid>
              <a:tr h="451866">
                <a:tc gridSpan="2">
                  <a:txBody>
                    <a:bodyPr/>
                    <a:lstStyle/>
                    <a:p>
                      <a:pPr algn="ctr"/>
                      <a:r>
                        <a:rPr lang="th-TH" sz="1600" b="1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กิจกรรมหลัก</a:t>
                      </a:r>
                      <a:endParaRPr lang="en-US" altLang="th-TH" sz="16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th-TH" sz="1600" b="1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กรอบเวลาดำเนินการ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th-TH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แผนเบิกจ่ายเงิน </a:t>
                      </a: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(</a:t>
                      </a:r>
                      <a:r>
                        <a:rPr kumimoji="0" lang="th-TH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ล้านบาท</a:t>
                      </a: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</a:tr>
              <a:tr h="628254">
                <a:tc>
                  <a:txBody>
                    <a:bodyPr/>
                    <a:lstStyle/>
                    <a:p>
                      <a:pPr algn="ctr"/>
                      <a:r>
                        <a:rPr lang="th-TH" sz="1200" b="1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ที่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th-TH" sz="1600" b="1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รายละเอียด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spc="-5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Q2/6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spc="-5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Q3/6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spc="-5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Q4/6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th-TH" sz="1200" b="0" dirty="0" smtClean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ต่อเนื่อง</a:t>
                      </a:r>
                    </a:p>
                    <a:p>
                      <a:pPr algn="ctr"/>
                      <a:r>
                        <a:rPr lang="th-TH" sz="1200" b="0" dirty="0" smtClean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ถึงปี</a:t>
                      </a:r>
                      <a:r>
                        <a:rPr lang="th-TH" sz="1200" b="0" baseline="0" dirty="0" smtClean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th-TH" sz="1200" b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5</a:t>
                      </a:r>
                      <a:endParaRPr lang="en-US" sz="1200" b="0" spc="-50" baseline="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spc="-5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Q2/6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spc="-5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Q3/6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spc="-5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Q4/6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th-TH" sz="1200" b="0" dirty="0" smtClean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ต่อเนื่อง</a:t>
                      </a:r>
                    </a:p>
                    <a:p>
                      <a:pPr algn="ctr"/>
                      <a:r>
                        <a:rPr lang="th-TH" sz="1200" b="0" dirty="0" smtClean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ถึงปี 65</a:t>
                      </a:r>
                      <a:endParaRPr lang="en-US" sz="1200" b="0" spc="-50" baseline="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288032">
                <a:tc gridSpan="10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Virtual PPA</a:t>
                      </a:r>
                      <a:r>
                        <a:rPr lang="en-US" sz="1400" b="1" kern="1200" baseline="0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th-TH" sz="1400" b="1" kern="1200" baseline="0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โรงไฟฟ้าพลังงานหมุนเวียน</a:t>
                      </a:r>
                      <a:endParaRPr lang="th-TH" sz="14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</a:tr>
              <a:tr h="42022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th-TH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</a:t>
                      </a:r>
                      <a:endParaRPr lang="en-US" sz="1600" b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7606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th-TH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0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th-TH" sz="14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sz="1600" b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</a:t>
                      </a:r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th-TH" sz="14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76064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sz="1200" b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0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6528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sz="1200" b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0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837784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sz="1200" b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0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27754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sz="1200" b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0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TextBox 19"/>
          <p:cNvSpPr txBox="1"/>
          <p:nvPr/>
        </p:nvSpPr>
        <p:spPr>
          <a:xfrm>
            <a:off x="-70566" y="107340"/>
            <a:ext cx="12192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th-TH" sz="1800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แผนดำเนินงานและแผนลงทุนของโครงการด้านพลังงาน </a:t>
            </a:r>
            <a:r>
              <a:rPr lang="en-US" sz="1800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Q2-Q4/</a:t>
            </a:r>
            <a:r>
              <a:rPr lang="th-TH" sz="1800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2564</a:t>
            </a:r>
            <a:endParaRPr lang="en-US" sz="18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TextBox 19"/>
          <p:cNvSpPr txBox="1"/>
          <p:nvPr/>
        </p:nvSpPr>
        <p:spPr>
          <a:xfrm>
            <a:off x="-22030" y="532711"/>
            <a:ext cx="12192000" cy="4001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th-TH" altLang="th-TH" sz="20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สำนักงานคณะกรรมการกำกับกิจการพลังงาน </a:t>
            </a:r>
            <a:r>
              <a:rPr lang="en-US" altLang="th-TH" sz="20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th-TH" altLang="th-TH" sz="2000" b="1" dirty="0" err="1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สนง</a:t>
            </a:r>
            <a:r>
              <a:rPr lang="th-TH" altLang="th-TH" sz="20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r>
              <a:rPr lang="th-TH" altLang="th-TH" sz="2000" b="1" dirty="0" err="1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กกพ</a:t>
            </a:r>
            <a:r>
              <a:rPr lang="th-TH" altLang="th-TH" sz="20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r>
              <a:rPr lang="en-US" altLang="th-TH" sz="20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endParaRPr lang="en-US" altLang="th-TH" sz="2000" b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ตัวแทนหมายเลขภาพนิ่ง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B3561BA9-CDCF-4958-B8AB-66F3BF063E13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3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563337329"/>
              </p:ext>
            </p:extLst>
          </p:nvPr>
        </p:nvGraphicFramePr>
        <p:xfrm>
          <a:off x="358552" y="1052736"/>
          <a:ext cx="11400154" cy="51125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6190"/>
                <a:gridCol w="4158673"/>
                <a:gridCol w="758963"/>
                <a:gridCol w="805251"/>
                <a:gridCol w="732565"/>
                <a:gridCol w="899402"/>
                <a:gridCol w="782708"/>
                <a:gridCol w="864096"/>
                <a:gridCol w="936104"/>
                <a:gridCol w="1126202"/>
              </a:tblGrid>
              <a:tr h="451866">
                <a:tc gridSpan="2">
                  <a:txBody>
                    <a:bodyPr/>
                    <a:lstStyle/>
                    <a:p>
                      <a:pPr algn="ctr"/>
                      <a:r>
                        <a:rPr lang="th-TH" sz="1600" b="1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กิจกรรมหลัก</a:t>
                      </a:r>
                      <a:endParaRPr lang="en-US" altLang="th-TH" sz="16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th-TH" sz="1600" b="1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กรอบเวลาดำเนินการ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th-TH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แผนเบิกจ่ายเงิน </a:t>
                      </a: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(</a:t>
                      </a:r>
                      <a:r>
                        <a:rPr kumimoji="0" lang="th-TH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ล้านบาท</a:t>
                      </a: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</a:tr>
              <a:tr h="628254">
                <a:tc>
                  <a:txBody>
                    <a:bodyPr/>
                    <a:lstStyle/>
                    <a:p>
                      <a:pPr algn="ctr"/>
                      <a:r>
                        <a:rPr lang="th-TH" sz="1200" b="1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ที่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th-TH" sz="1600" b="1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รายละเอียด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spc="-5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Q2/6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spc="-5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Q3/6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spc="-5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Q4/6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th-TH" sz="1200" b="0" dirty="0" smtClean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ต่อเนื่อง</a:t>
                      </a:r>
                    </a:p>
                    <a:p>
                      <a:pPr algn="ctr"/>
                      <a:r>
                        <a:rPr lang="th-TH" sz="1200" b="0" dirty="0" smtClean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ถึงปี</a:t>
                      </a:r>
                      <a:r>
                        <a:rPr lang="th-TH" sz="1200" b="0" baseline="0" dirty="0" smtClean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th-TH" sz="1200" b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5</a:t>
                      </a:r>
                      <a:endParaRPr lang="en-US" sz="1200" b="0" spc="-50" baseline="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spc="-5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Q2/6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spc="-5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Q3/6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spc="-5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Q4/6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th-TH" sz="1200" b="0" dirty="0" smtClean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ต่อเนื่อง</a:t>
                      </a:r>
                    </a:p>
                    <a:p>
                      <a:pPr algn="ctr"/>
                      <a:r>
                        <a:rPr lang="th-TH" sz="1200" b="0" dirty="0" smtClean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ถึงปี 65</a:t>
                      </a:r>
                      <a:endParaRPr lang="en-US" sz="1200" b="0" spc="-50" baseline="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288032">
                <a:tc gridSpan="10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E 100</a:t>
                      </a:r>
                      <a:r>
                        <a:rPr lang="th-TH" sz="1400" b="1" dirty="0" smtClean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ackage </a:t>
                      </a:r>
                      <a:r>
                        <a:rPr lang="th-TH" sz="1400" b="1" dirty="0" smtClean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ภาพรวมและในพื้นที่ </a:t>
                      </a:r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EEC</a:t>
                      </a:r>
                      <a:endParaRPr lang="th-TH" sz="14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</a:tr>
              <a:tr h="42022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th-TH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</a:t>
                      </a:r>
                      <a:endParaRPr lang="en-US" sz="1600" b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7606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th-TH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0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th-TH" sz="14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sz="1600" b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</a:t>
                      </a:r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th-TH" sz="14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76064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sz="1200" b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0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6528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sz="1200" b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0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837784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sz="1200" b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0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27754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sz="1200" b="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0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th-TH" sz="14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TextBox 19"/>
          <p:cNvSpPr txBox="1"/>
          <p:nvPr/>
        </p:nvSpPr>
        <p:spPr>
          <a:xfrm>
            <a:off x="-70566" y="107340"/>
            <a:ext cx="12192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th-TH" sz="1800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แผนดำเนินงานและแผนลงทุนของโครงการด้านพลังงาน </a:t>
            </a:r>
            <a:r>
              <a:rPr lang="en-US" sz="1800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Q2-Q4/</a:t>
            </a:r>
            <a:r>
              <a:rPr lang="th-TH" sz="1800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2564</a:t>
            </a:r>
            <a:endParaRPr lang="en-US" sz="18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TextBox 19"/>
          <p:cNvSpPr txBox="1"/>
          <p:nvPr/>
        </p:nvSpPr>
        <p:spPr>
          <a:xfrm>
            <a:off x="-22030" y="532711"/>
            <a:ext cx="12192000" cy="4001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th-TH" altLang="th-TH" sz="20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สำนักงานคณะกรรมการกำกับกิจการพลังงาน </a:t>
            </a:r>
            <a:r>
              <a:rPr lang="en-US" altLang="th-TH" sz="20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th-TH" altLang="th-TH" sz="2000" b="1" dirty="0" err="1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สนง</a:t>
            </a:r>
            <a:r>
              <a:rPr lang="th-TH" altLang="th-TH" sz="20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r>
              <a:rPr lang="th-TH" altLang="th-TH" sz="2000" b="1" dirty="0" err="1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กกพ</a:t>
            </a:r>
            <a:r>
              <a:rPr lang="th-TH" altLang="th-TH" sz="20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r>
              <a:rPr lang="en-US" altLang="th-TH" sz="20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endParaRPr lang="en-US" altLang="th-TH" sz="2000" b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012180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H4jGZzFk.9HaZFcpPV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wsK2kBd0GtTDu_lGrIU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heme/theme1.xml><?xml version="1.0" encoding="utf-8"?>
<a:theme xmlns:a="http://schemas.openxmlformats.org/drawingml/2006/main" name="3_MOE_CF_TFY003">
  <a:themeElements>
    <a:clrScheme name="Custom 1">
      <a:dk1>
        <a:srgbClr val="003366"/>
      </a:dk1>
      <a:lt1>
        <a:srgbClr val="FFFFFF"/>
      </a:lt1>
      <a:dk2>
        <a:srgbClr val="2E6272"/>
      </a:dk2>
      <a:lt2>
        <a:srgbClr val="B2B2B2"/>
      </a:lt2>
      <a:accent1>
        <a:srgbClr val="3984C9"/>
      </a:accent1>
      <a:accent2>
        <a:srgbClr val="77AE26"/>
      </a:accent2>
      <a:accent3>
        <a:srgbClr val="FFFFFF"/>
      </a:accent3>
      <a:accent4>
        <a:srgbClr val="002A56"/>
      </a:accent4>
      <a:accent5>
        <a:srgbClr val="AEC2E1"/>
      </a:accent5>
      <a:accent6>
        <a:srgbClr val="FF3300"/>
      </a:accent6>
      <a:hlink>
        <a:srgbClr val="6E815B"/>
      </a:hlink>
      <a:folHlink>
        <a:srgbClr val="90A8B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>
            <a:lumMod val="20000"/>
            <a:lumOff val="80000"/>
          </a:schemeClr>
        </a:solidFill>
        <a:ln w="9525">
          <a:noFill/>
        </a:ln>
      </a:spPr>
      <a:bodyPr rtlCol="0" anchor="ctr"/>
      <a:lstStyle>
        <a:defPPr algn="ctr">
          <a:defRPr sz="14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3_MOE_CF_TFY003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6CD14"/>
        </a:accent1>
        <a:accent2>
          <a:srgbClr val="FF781E"/>
        </a:accent2>
        <a:accent3>
          <a:srgbClr val="FFFFFF"/>
        </a:accent3>
        <a:accent4>
          <a:srgbClr val="000000"/>
        </a:accent4>
        <a:accent5>
          <a:srgbClr val="F0E3AA"/>
        </a:accent5>
        <a:accent6>
          <a:srgbClr val="E76C1A"/>
        </a:accent6>
        <a:hlink>
          <a:srgbClr val="EE3F22"/>
        </a:hlink>
        <a:folHlink>
          <a:srgbClr val="43434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8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Thai Theme">
  <a:themeElements>
    <a:clrScheme name="ธีมของ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ธีมของ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ธีมของ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การออกแบบที่กำหนดเอง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0_Contents Slide Master">
  <a:themeElements>
    <a:clrScheme name="Leader for Succes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2C650"/>
      </a:accent1>
      <a:accent2>
        <a:srgbClr val="5CBE7A"/>
      </a:accent2>
      <a:accent3>
        <a:srgbClr val="2CB8AE"/>
      </a:accent3>
      <a:accent4>
        <a:srgbClr val="24A8C2"/>
      </a:accent4>
      <a:accent5>
        <a:srgbClr val="249ED2"/>
      </a:accent5>
      <a:accent6>
        <a:srgbClr val="3F3F3F"/>
      </a:accent6>
      <a:hlink>
        <a:srgbClr val="FFFFFF"/>
      </a:hlink>
      <a:folHlink>
        <a:srgbClr val="FFFFFF"/>
      </a:folHlink>
    </a:clrScheme>
    <a:fontScheme name="MAX-THEME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6</TotalTime>
  <Words>408</Words>
  <Application>Microsoft Office PowerPoint</Application>
  <PresentationFormat>Custom</PresentationFormat>
  <Paragraphs>94</Paragraphs>
  <Slides>3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5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3_MOE_CF_TFY003</vt:lpstr>
      <vt:lpstr>8_Office Theme</vt:lpstr>
      <vt:lpstr>1_Thai Theme</vt:lpstr>
      <vt:lpstr>การออกแบบที่กำหนดเอง</vt:lpstr>
      <vt:lpstr>10_Contents Slide Master</vt:lpstr>
      <vt:lpstr>Slide 1</vt:lpstr>
      <vt:lpstr>Slide 2</vt:lpstr>
      <vt:lpstr>Slide 3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รายชื่อแผนงาน/โครงการสำคัญ กระทรวงพลังงาน</dc:title>
  <dc:creator>AROONSUK</dc:creator>
  <cp:lastModifiedBy>ENERGY</cp:lastModifiedBy>
  <cp:revision>3466</cp:revision>
  <cp:lastPrinted>2021-03-10T02:01:00Z</cp:lastPrinted>
  <dcterms:created xsi:type="dcterms:W3CDTF">2014-09-12T08:56:00Z</dcterms:created>
  <dcterms:modified xsi:type="dcterms:W3CDTF">2021-03-15T04:56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1054-10.8.2.6597</vt:lpwstr>
  </property>
</Properties>
</file>